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4"/>
  </p:sldMasterIdLst>
  <p:notesMasterIdLst>
    <p:notesMasterId r:id="rId15"/>
  </p:notesMasterIdLst>
  <p:sldIdLst>
    <p:sldId id="2653" r:id="rId5"/>
    <p:sldId id="2703" r:id="rId6"/>
    <p:sldId id="2694" r:id="rId7"/>
    <p:sldId id="2701" r:id="rId8"/>
    <p:sldId id="2679" r:id="rId9"/>
    <p:sldId id="2700" r:id="rId10"/>
    <p:sldId id="2687" r:id="rId11"/>
    <p:sldId id="2690" r:id="rId12"/>
    <p:sldId id="2707" r:id="rId13"/>
    <p:sldId id="256" r:id="rId14"/>
  </p:sldIdLst>
  <p:sldSz cx="12192000" cy="6858000"/>
  <p:notesSz cx="6858000" cy="9144000"/>
  <p:custDataLst>
    <p:tags r:id="rId16"/>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890" userDrawn="1">
          <p15:clr>
            <a:srgbClr val="A4A3A4"/>
          </p15:clr>
        </p15:guide>
        <p15:guide id="3" pos="7151" userDrawn="1">
          <p15:clr>
            <a:srgbClr val="A4A3A4"/>
          </p15:clr>
        </p15:guide>
        <p15:guide id="4" orient="horz" pos="4020" userDrawn="1">
          <p15:clr>
            <a:srgbClr val="A4A3A4"/>
          </p15:clr>
        </p15:guide>
        <p15:guide id="6" pos="529" userDrawn="1">
          <p15:clr>
            <a:srgbClr val="A4A3A4"/>
          </p15:clr>
        </p15:guide>
        <p15:guide id="7" orient="horz" pos="79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2B1EA34-3273-982F-2675-510A6841581A}" name="Stephanie Mattsson" initials="SM" userId="S::stephanie@mscnordics.com::77fffe8b-8c64-4110-a56b-5eb7399c61b9" providerId="AD"/>
  <p188:author id="{FE402A45-E4D9-29A4-0704-F6DB7DF1811C}" name="Stina Torell" initials="ST" userId="S::stina@mscnordics.com::42ae74f8-9b92-4847-96bc-2e51e5bf790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kka Lausmaa" initials="JL" lastIdx="14" clrIdx="0">
    <p:extLst>
      <p:ext uri="{19B8F6BF-5375-455C-9EA6-DF929625EA0E}">
        <p15:presenceInfo xmlns:p15="http://schemas.microsoft.com/office/powerpoint/2012/main" userId="S::jukka.lausmaa@ri.se::623551fb-39aa-4514-a123-c702aba99e76" providerId="AD"/>
      </p:ext>
    </p:extLst>
  </p:cmAuthor>
  <p:cmAuthor id="2" name="Paul Kingham" initials="PK" lastIdx="1" clrIdx="1">
    <p:extLst>
      <p:ext uri="{19B8F6BF-5375-455C-9EA6-DF929625EA0E}">
        <p15:presenceInfo xmlns:p15="http://schemas.microsoft.com/office/powerpoint/2012/main" userId="S-1-5-21-372181604-167083155-88068669-1166" providerId="AD"/>
      </p:ext>
    </p:extLst>
  </p:cmAuthor>
  <p:cmAuthor id="3" name="Heather Main" initials="HM" lastIdx="3" clrIdx="2">
    <p:extLst>
      <p:ext uri="{19B8F6BF-5375-455C-9EA6-DF929625EA0E}">
        <p15:presenceInfo xmlns:p15="http://schemas.microsoft.com/office/powerpoint/2012/main" userId="S::heather.main@sll.se::74e13e30-1f6f-4b11-88e5-b0b34a75b9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9E9"/>
    <a:srgbClr val="4F6C23"/>
    <a:srgbClr val="8057A8"/>
    <a:srgbClr val="75A741"/>
    <a:srgbClr val="FD869F"/>
    <a:srgbClr val="E97C8F"/>
    <a:srgbClr val="C96B7B"/>
    <a:srgbClr val="874853"/>
    <a:srgbClr val="D89269"/>
    <a:srgbClr val="8AA7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B27497-8CA6-8846-AF23-C01C91407B95}" v="74" dt="2022-05-31T07:47:34.056"/>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07"/>
    <p:restoredTop sz="94654"/>
  </p:normalViewPr>
  <p:slideViewPr>
    <p:cSldViewPr snapToGrid="0" snapToObjects="1" showGuides="1">
      <p:cViewPr varScale="1">
        <p:scale>
          <a:sx n="90" d="100"/>
          <a:sy n="90" d="100"/>
        </p:scale>
        <p:origin x="232" y="488"/>
      </p:cViewPr>
      <p:guideLst>
        <p:guide pos="1890"/>
        <p:guide pos="7151"/>
        <p:guide orient="horz" pos="4020"/>
        <p:guide pos="529"/>
        <p:guide orient="horz" pos="79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anie Mattsson" userId="77fffe8b-8c64-4110-a56b-5eb7399c61b9" providerId="ADAL" clId="{77B27497-8CA6-8846-AF23-C01C91407B95}"/>
    <pc:docChg chg="undo redo custSel addSld delSld modSld sldOrd">
      <pc:chgData name="Stephanie Mattsson" userId="77fffe8b-8c64-4110-a56b-5eb7399c61b9" providerId="ADAL" clId="{77B27497-8CA6-8846-AF23-C01C91407B95}" dt="2022-05-31T07:48:16.484" v="3186"/>
      <pc:docMkLst>
        <pc:docMk/>
      </pc:docMkLst>
      <pc:sldChg chg="addSp modSp mod ord">
        <pc:chgData name="Stephanie Mattsson" userId="77fffe8b-8c64-4110-a56b-5eb7399c61b9" providerId="ADAL" clId="{77B27497-8CA6-8846-AF23-C01C91407B95}" dt="2022-04-13T14:59:13.475" v="1990" actId="207"/>
        <pc:sldMkLst>
          <pc:docMk/>
          <pc:sldMk cId="277342901" sldId="256"/>
        </pc:sldMkLst>
        <pc:spChg chg="add mod">
          <ac:chgData name="Stephanie Mattsson" userId="77fffe8b-8c64-4110-a56b-5eb7399c61b9" providerId="ADAL" clId="{77B27497-8CA6-8846-AF23-C01C91407B95}" dt="2022-04-13T14:59:13.475" v="1990" actId="207"/>
          <ac:spMkLst>
            <pc:docMk/>
            <pc:sldMk cId="277342901" sldId="256"/>
            <ac:spMk id="3" creationId="{5B08C699-DCE4-8FAC-1395-0608C962BD63}"/>
          </ac:spMkLst>
        </pc:spChg>
      </pc:sldChg>
      <pc:sldChg chg="modSp mod modShow delCm">
        <pc:chgData name="Stephanie Mattsson" userId="77fffe8b-8c64-4110-a56b-5eb7399c61b9" providerId="ADAL" clId="{77B27497-8CA6-8846-AF23-C01C91407B95}" dt="2022-03-29T09:16:54.737" v="333" actId="729"/>
        <pc:sldMkLst>
          <pc:docMk/>
          <pc:sldMk cId="3095307470" sldId="271"/>
        </pc:sldMkLst>
        <pc:cxnChg chg="mod">
          <ac:chgData name="Stephanie Mattsson" userId="77fffe8b-8c64-4110-a56b-5eb7399c61b9" providerId="ADAL" clId="{77B27497-8CA6-8846-AF23-C01C91407B95}" dt="2022-03-29T09:09:49.697" v="172" actId="14100"/>
          <ac:cxnSpMkLst>
            <pc:docMk/>
            <pc:sldMk cId="3095307470" sldId="271"/>
            <ac:cxnSpMk id="28" creationId="{B566D6A6-DE76-E940-A1E9-13248014F781}"/>
          </ac:cxnSpMkLst>
        </pc:cxnChg>
      </pc:sldChg>
      <pc:sldChg chg="addCm">
        <pc:chgData name="Stephanie Mattsson" userId="77fffe8b-8c64-4110-a56b-5eb7399c61b9" providerId="ADAL" clId="{77B27497-8CA6-8846-AF23-C01C91407B95}" dt="2022-04-20T11:29:43.939" v="2205"/>
        <pc:sldMkLst>
          <pc:docMk/>
          <pc:sldMk cId="1677377180" sldId="720"/>
        </pc:sldMkLst>
      </pc:sldChg>
      <pc:sldChg chg="addSp delSp modSp mod delCm">
        <pc:chgData name="Stephanie Mattsson" userId="77fffe8b-8c64-4110-a56b-5eb7399c61b9" providerId="ADAL" clId="{77B27497-8CA6-8846-AF23-C01C91407B95}" dt="2022-04-13T14:59:00.307" v="1988" actId="21"/>
        <pc:sldMkLst>
          <pc:docMk/>
          <pc:sldMk cId="2393237864" sldId="2653"/>
        </pc:sldMkLst>
        <pc:spChg chg="mod">
          <ac:chgData name="Stephanie Mattsson" userId="77fffe8b-8c64-4110-a56b-5eb7399c61b9" providerId="ADAL" clId="{77B27497-8CA6-8846-AF23-C01C91407B95}" dt="2022-03-29T08:57:51.756" v="147" actId="1036"/>
          <ac:spMkLst>
            <pc:docMk/>
            <pc:sldMk cId="2393237864" sldId="2653"/>
            <ac:spMk id="2" creationId="{C1E9FF4B-1229-4262-82A6-7A1A5E116D43}"/>
          </ac:spMkLst>
        </pc:spChg>
        <pc:spChg chg="del">
          <ac:chgData name="Stephanie Mattsson" userId="77fffe8b-8c64-4110-a56b-5eb7399c61b9" providerId="ADAL" clId="{77B27497-8CA6-8846-AF23-C01C91407B95}" dt="2022-03-29T08:55:15.184" v="107" actId="478"/>
          <ac:spMkLst>
            <pc:docMk/>
            <pc:sldMk cId="2393237864" sldId="2653"/>
            <ac:spMk id="3" creationId="{F0551BAC-2FFA-4B66-B1BB-DC6DB52FE67A}"/>
          </ac:spMkLst>
        </pc:spChg>
        <pc:spChg chg="add del mod">
          <ac:chgData name="Stephanie Mattsson" userId="77fffe8b-8c64-4110-a56b-5eb7399c61b9" providerId="ADAL" clId="{77B27497-8CA6-8846-AF23-C01C91407B95}" dt="2022-03-29T08:55:19.382" v="108" actId="478"/>
          <ac:spMkLst>
            <pc:docMk/>
            <pc:sldMk cId="2393237864" sldId="2653"/>
            <ac:spMk id="6" creationId="{8CAC816D-357D-0E4A-A4F4-3D068BA0ADF0}"/>
          </ac:spMkLst>
        </pc:spChg>
        <pc:spChg chg="mod">
          <ac:chgData name="Stephanie Mattsson" userId="77fffe8b-8c64-4110-a56b-5eb7399c61b9" providerId="ADAL" clId="{77B27497-8CA6-8846-AF23-C01C91407B95}" dt="2022-03-29T08:52:52.141" v="99" actId="207"/>
          <ac:spMkLst>
            <pc:docMk/>
            <pc:sldMk cId="2393237864" sldId="2653"/>
            <ac:spMk id="8" creationId="{D0DF3373-38FD-420A-ACDD-73C929DEEEE4}"/>
          </ac:spMkLst>
        </pc:spChg>
        <pc:spChg chg="mod">
          <ac:chgData name="Stephanie Mattsson" userId="77fffe8b-8c64-4110-a56b-5eb7399c61b9" providerId="ADAL" clId="{77B27497-8CA6-8846-AF23-C01C91407B95}" dt="2022-03-29T08:52:52.141" v="99" actId="207"/>
          <ac:spMkLst>
            <pc:docMk/>
            <pc:sldMk cId="2393237864" sldId="2653"/>
            <ac:spMk id="10" creationId="{7CF7CB7A-D4D7-4A43-B6CE-001921631D76}"/>
          </ac:spMkLst>
        </pc:spChg>
        <pc:spChg chg="del">
          <ac:chgData name="Stephanie Mattsson" userId="77fffe8b-8c64-4110-a56b-5eb7399c61b9" providerId="ADAL" clId="{77B27497-8CA6-8846-AF23-C01C91407B95}" dt="2022-04-13T14:59:00.307" v="1988" actId="21"/>
          <ac:spMkLst>
            <pc:docMk/>
            <pc:sldMk cId="2393237864" sldId="2653"/>
            <ac:spMk id="12" creationId="{3EEE8B65-26E3-0F44-8FEF-95B8DF96FF3B}"/>
          </ac:spMkLst>
        </pc:spChg>
        <pc:picChg chg="del">
          <ac:chgData name="Stephanie Mattsson" userId="77fffe8b-8c64-4110-a56b-5eb7399c61b9" providerId="ADAL" clId="{77B27497-8CA6-8846-AF23-C01C91407B95}" dt="2022-03-29T08:54:38.541" v="103" actId="478"/>
          <ac:picMkLst>
            <pc:docMk/>
            <pc:sldMk cId="2393237864" sldId="2653"/>
            <ac:picMk id="5" creationId="{BF1F73F4-EF08-45C8-AC70-F2C1AC964CDF}"/>
          </ac:picMkLst>
        </pc:picChg>
        <pc:picChg chg="add mod">
          <ac:chgData name="Stephanie Mattsson" userId="77fffe8b-8c64-4110-a56b-5eb7399c61b9" providerId="ADAL" clId="{77B27497-8CA6-8846-AF23-C01C91407B95}" dt="2022-04-13T14:58:48.956" v="1987" actId="688"/>
          <ac:picMkLst>
            <pc:docMk/>
            <pc:sldMk cId="2393237864" sldId="2653"/>
            <ac:picMk id="14" creationId="{71FE7630-5EED-C74F-8447-AA8DCDC15CDE}"/>
          </ac:picMkLst>
        </pc:picChg>
        <pc:picChg chg="del">
          <ac:chgData name="Stephanie Mattsson" userId="77fffe8b-8c64-4110-a56b-5eb7399c61b9" providerId="ADAL" clId="{77B27497-8CA6-8846-AF23-C01C91407B95}" dt="2022-03-29T08:54:39.530" v="104" actId="478"/>
          <ac:picMkLst>
            <pc:docMk/>
            <pc:sldMk cId="2393237864" sldId="2653"/>
            <ac:picMk id="20" creationId="{BC804D90-0315-444B-8C7A-6A2081B8462C}"/>
          </ac:picMkLst>
        </pc:picChg>
        <pc:cxnChg chg="add mod">
          <ac:chgData name="Stephanie Mattsson" userId="77fffe8b-8c64-4110-a56b-5eb7399c61b9" providerId="ADAL" clId="{77B27497-8CA6-8846-AF23-C01C91407B95}" dt="2022-03-29T08:57:02.817" v="135" actId="14100"/>
          <ac:cxnSpMkLst>
            <pc:docMk/>
            <pc:sldMk cId="2393237864" sldId="2653"/>
            <ac:cxnSpMk id="17" creationId="{23A680C9-178D-5D4E-930F-C1AF1B7E3DBD}"/>
          </ac:cxnSpMkLst>
        </pc:cxnChg>
      </pc:sldChg>
      <pc:sldChg chg="modSp mod addCm modCm">
        <pc:chgData name="Stephanie Mattsson" userId="77fffe8b-8c64-4110-a56b-5eb7399c61b9" providerId="ADAL" clId="{77B27497-8CA6-8846-AF23-C01C91407B95}" dt="2022-04-13T08:51:30.393" v="984" actId="20577"/>
        <pc:sldMkLst>
          <pc:docMk/>
          <pc:sldMk cId="3466783046" sldId="2676"/>
        </pc:sldMkLst>
        <pc:spChg chg="mod">
          <ac:chgData name="Stephanie Mattsson" userId="77fffe8b-8c64-4110-a56b-5eb7399c61b9" providerId="ADAL" clId="{77B27497-8CA6-8846-AF23-C01C91407B95}" dt="2022-04-13T08:24:17.358" v="510" actId="1035"/>
          <ac:spMkLst>
            <pc:docMk/>
            <pc:sldMk cId="3466783046" sldId="2676"/>
            <ac:spMk id="2" creationId="{26C97834-B835-F742-8469-996ACB0C8BD7}"/>
          </ac:spMkLst>
        </pc:spChg>
        <pc:spChg chg="mod">
          <ac:chgData name="Stephanie Mattsson" userId="77fffe8b-8c64-4110-a56b-5eb7399c61b9" providerId="ADAL" clId="{77B27497-8CA6-8846-AF23-C01C91407B95}" dt="2022-04-13T08:28:45.379" v="528" actId="790"/>
          <ac:spMkLst>
            <pc:docMk/>
            <pc:sldMk cId="3466783046" sldId="2676"/>
            <ac:spMk id="45" creationId="{BEDF3190-A5AF-5F4E-8F67-497D7B9C6CE7}"/>
          </ac:spMkLst>
        </pc:spChg>
        <pc:spChg chg="mod">
          <ac:chgData name="Stephanie Mattsson" userId="77fffe8b-8c64-4110-a56b-5eb7399c61b9" providerId="ADAL" clId="{77B27497-8CA6-8846-AF23-C01C91407B95}" dt="2022-04-13T08:51:20.496" v="983" actId="20577"/>
          <ac:spMkLst>
            <pc:docMk/>
            <pc:sldMk cId="3466783046" sldId="2676"/>
            <ac:spMk id="46" creationId="{3982B889-1770-CE4F-86A0-6B4330949077}"/>
          </ac:spMkLst>
        </pc:spChg>
        <pc:spChg chg="mod">
          <ac:chgData name="Stephanie Mattsson" userId="77fffe8b-8c64-4110-a56b-5eb7399c61b9" providerId="ADAL" clId="{77B27497-8CA6-8846-AF23-C01C91407B95}" dt="2022-04-13T08:51:30.393" v="984" actId="20577"/>
          <ac:spMkLst>
            <pc:docMk/>
            <pc:sldMk cId="3466783046" sldId="2676"/>
            <ac:spMk id="47" creationId="{04BC2B67-C9B6-3E43-A274-E4C460304F6A}"/>
          </ac:spMkLst>
        </pc:spChg>
      </pc:sldChg>
      <pc:sldChg chg="addSp modSp mod addCm delCm modCm">
        <pc:chgData name="Stephanie Mattsson" userId="77fffe8b-8c64-4110-a56b-5eb7399c61b9" providerId="ADAL" clId="{77B27497-8CA6-8846-AF23-C01C91407B95}" dt="2022-04-26T11:59:49.729" v="2419" actId="1036"/>
        <pc:sldMkLst>
          <pc:docMk/>
          <pc:sldMk cId="1196669393" sldId="2679"/>
        </pc:sldMkLst>
        <pc:spChg chg="mod">
          <ac:chgData name="Stephanie Mattsson" userId="77fffe8b-8c64-4110-a56b-5eb7399c61b9" providerId="ADAL" clId="{77B27497-8CA6-8846-AF23-C01C91407B95}" dt="2022-04-26T11:59:49.729" v="2419" actId="1036"/>
          <ac:spMkLst>
            <pc:docMk/>
            <pc:sldMk cId="1196669393" sldId="2679"/>
            <ac:spMk id="4" creationId="{B762F0CB-9C15-3043-AA4B-55C649CFCB70}"/>
          </ac:spMkLst>
        </pc:spChg>
        <pc:spChg chg="mod">
          <ac:chgData name="Stephanie Mattsson" userId="77fffe8b-8c64-4110-a56b-5eb7399c61b9" providerId="ADAL" clId="{77B27497-8CA6-8846-AF23-C01C91407B95}" dt="2022-04-13T08:41:45.606" v="592" actId="1035"/>
          <ac:spMkLst>
            <pc:docMk/>
            <pc:sldMk cId="1196669393" sldId="2679"/>
            <ac:spMk id="7" creationId="{D9C68DE9-7CB1-7946-905D-9271DE896F06}"/>
          </ac:spMkLst>
        </pc:spChg>
        <pc:spChg chg="mod">
          <ac:chgData name="Stephanie Mattsson" userId="77fffe8b-8c64-4110-a56b-5eb7399c61b9" providerId="ADAL" clId="{77B27497-8CA6-8846-AF23-C01C91407B95}" dt="2022-04-13T08:41:45.606" v="592" actId="1035"/>
          <ac:spMkLst>
            <pc:docMk/>
            <pc:sldMk cId="1196669393" sldId="2679"/>
            <ac:spMk id="9" creationId="{1AFFBB22-0A57-AC4F-992C-153E397DC320}"/>
          </ac:spMkLst>
        </pc:spChg>
        <pc:spChg chg="mod">
          <ac:chgData name="Stephanie Mattsson" userId="77fffe8b-8c64-4110-a56b-5eb7399c61b9" providerId="ADAL" clId="{77B27497-8CA6-8846-AF23-C01C91407B95}" dt="2022-04-13T08:41:45.606" v="592" actId="1035"/>
          <ac:spMkLst>
            <pc:docMk/>
            <pc:sldMk cId="1196669393" sldId="2679"/>
            <ac:spMk id="10" creationId="{397B7F34-5DB3-8948-9AAB-A2D72A49DC28}"/>
          </ac:spMkLst>
        </pc:spChg>
        <pc:spChg chg="mod">
          <ac:chgData name="Stephanie Mattsson" userId="77fffe8b-8c64-4110-a56b-5eb7399c61b9" providerId="ADAL" clId="{77B27497-8CA6-8846-AF23-C01C91407B95}" dt="2022-04-14T07:54:45.651" v="2093" actId="948"/>
          <ac:spMkLst>
            <pc:docMk/>
            <pc:sldMk cId="1196669393" sldId="2679"/>
            <ac:spMk id="11" creationId="{F638904B-D90E-BE4B-A1C0-DCCEF080F2C8}"/>
          </ac:spMkLst>
        </pc:spChg>
        <pc:spChg chg="mod">
          <ac:chgData name="Stephanie Mattsson" userId="77fffe8b-8c64-4110-a56b-5eb7399c61b9" providerId="ADAL" clId="{77B27497-8CA6-8846-AF23-C01C91407B95}" dt="2022-04-19T13:12:33.554" v="2190" actId="1076"/>
          <ac:spMkLst>
            <pc:docMk/>
            <pc:sldMk cId="1196669393" sldId="2679"/>
            <ac:spMk id="12" creationId="{362C403B-2FD2-684C-826D-A30F08208589}"/>
          </ac:spMkLst>
        </pc:spChg>
        <pc:spChg chg="mod">
          <ac:chgData name="Stephanie Mattsson" userId="77fffe8b-8c64-4110-a56b-5eb7399c61b9" providerId="ADAL" clId="{77B27497-8CA6-8846-AF23-C01C91407B95}" dt="2022-04-13T08:42:12.866" v="605" actId="1035"/>
          <ac:spMkLst>
            <pc:docMk/>
            <pc:sldMk cId="1196669393" sldId="2679"/>
            <ac:spMk id="13" creationId="{B3039C1B-88E9-8A4C-BE02-D53C8E9B0CDD}"/>
          </ac:spMkLst>
        </pc:spChg>
        <pc:spChg chg="mod">
          <ac:chgData name="Stephanie Mattsson" userId="77fffe8b-8c64-4110-a56b-5eb7399c61b9" providerId="ADAL" clId="{77B27497-8CA6-8846-AF23-C01C91407B95}" dt="2022-04-13T08:40:14.198" v="568" actId="1036"/>
          <ac:spMkLst>
            <pc:docMk/>
            <pc:sldMk cId="1196669393" sldId="2679"/>
            <ac:spMk id="14" creationId="{586339D7-D0B9-604C-BECD-96D3F7274F41}"/>
          </ac:spMkLst>
        </pc:spChg>
        <pc:spChg chg="mod">
          <ac:chgData name="Stephanie Mattsson" userId="77fffe8b-8c64-4110-a56b-5eb7399c61b9" providerId="ADAL" clId="{77B27497-8CA6-8846-AF23-C01C91407B95}" dt="2022-04-13T08:40:14.198" v="568" actId="1036"/>
          <ac:spMkLst>
            <pc:docMk/>
            <pc:sldMk cId="1196669393" sldId="2679"/>
            <ac:spMk id="15" creationId="{D95B5BA4-53DD-D948-9760-2CF44B6268B9}"/>
          </ac:spMkLst>
        </pc:spChg>
        <pc:cxnChg chg="add mod">
          <ac:chgData name="Stephanie Mattsson" userId="77fffe8b-8c64-4110-a56b-5eb7399c61b9" providerId="ADAL" clId="{77B27497-8CA6-8846-AF23-C01C91407B95}" dt="2022-04-20T11:18:55.981" v="2201" actId="554"/>
          <ac:cxnSpMkLst>
            <pc:docMk/>
            <pc:sldMk cId="1196669393" sldId="2679"/>
            <ac:cxnSpMk id="5" creationId="{08C7DF60-94A3-03A2-DD93-0367A659DC7B}"/>
          </ac:cxnSpMkLst>
        </pc:cxnChg>
        <pc:cxnChg chg="mod">
          <ac:chgData name="Stephanie Mattsson" userId="77fffe8b-8c64-4110-a56b-5eb7399c61b9" providerId="ADAL" clId="{77B27497-8CA6-8846-AF23-C01C91407B95}" dt="2022-04-20T11:19:04.322" v="2202" actId="1035"/>
          <ac:cxnSpMkLst>
            <pc:docMk/>
            <pc:sldMk cId="1196669393" sldId="2679"/>
            <ac:cxnSpMk id="16" creationId="{314B947C-DE10-C341-AB26-E293F2C93847}"/>
          </ac:cxnSpMkLst>
        </pc:cxnChg>
        <pc:cxnChg chg="mod">
          <ac:chgData name="Stephanie Mattsson" userId="77fffe8b-8c64-4110-a56b-5eb7399c61b9" providerId="ADAL" clId="{77B27497-8CA6-8846-AF23-C01C91407B95}" dt="2022-04-20T11:19:06.934" v="2203" actId="1035"/>
          <ac:cxnSpMkLst>
            <pc:docMk/>
            <pc:sldMk cId="1196669393" sldId="2679"/>
            <ac:cxnSpMk id="17" creationId="{6BE16E03-9B9E-1549-A67D-02DD58C904BD}"/>
          </ac:cxnSpMkLst>
        </pc:cxnChg>
        <pc:cxnChg chg="mod">
          <ac:chgData name="Stephanie Mattsson" userId="77fffe8b-8c64-4110-a56b-5eb7399c61b9" providerId="ADAL" clId="{77B27497-8CA6-8846-AF23-C01C91407B95}" dt="2022-04-20T11:19:09.550" v="2204" actId="1035"/>
          <ac:cxnSpMkLst>
            <pc:docMk/>
            <pc:sldMk cId="1196669393" sldId="2679"/>
            <ac:cxnSpMk id="18" creationId="{EF7B4E11-BBF1-EE4F-988D-1013B88AA32D}"/>
          </ac:cxnSpMkLst>
        </pc:cxnChg>
      </pc:sldChg>
      <pc:sldChg chg="modSp mod ord addCm delCm modCm">
        <pc:chgData name="Stephanie Mattsson" userId="77fffe8b-8c64-4110-a56b-5eb7399c61b9" providerId="ADAL" clId="{77B27497-8CA6-8846-AF23-C01C91407B95}" dt="2022-03-29T09:06:41.064" v="169" actId="20577"/>
        <pc:sldMkLst>
          <pc:docMk/>
          <pc:sldMk cId="2265982265" sldId="2680"/>
        </pc:sldMkLst>
        <pc:spChg chg="mod">
          <ac:chgData name="Stephanie Mattsson" userId="77fffe8b-8c64-4110-a56b-5eb7399c61b9" providerId="ADAL" clId="{77B27497-8CA6-8846-AF23-C01C91407B95}" dt="2022-03-29T09:06:41.064" v="169" actId="20577"/>
          <ac:spMkLst>
            <pc:docMk/>
            <pc:sldMk cId="2265982265" sldId="2680"/>
            <ac:spMk id="6" creationId="{B16B02BD-E1DB-6F40-AAA1-6ECB948FB8E4}"/>
          </ac:spMkLst>
        </pc:spChg>
      </pc:sldChg>
      <pc:sldChg chg="addCm">
        <pc:chgData name="Stephanie Mattsson" userId="77fffe8b-8c64-4110-a56b-5eb7399c61b9" providerId="ADAL" clId="{77B27497-8CA6-8846-AF23-C01C91407B95}" dt="2022-03-29T09:24:03.270" v="416"/>
        <pc:sldMkLst>
          <pc:docMk/>
          <pc:sldMk cId="191516572" sldId="2683"/>
        </pc:sldMkLst>
      </pc:sldChg>
      <pc:sldChg chg="modSp new add mod addCm">
        <pc:chgData name="Stephanie Mattsson" userId="77fffe8b-8c64-4110-a56b-5eb7399c61b9" providerId="ADAL" clId="{77B27497-8CA6-8846-AF23-C01C91407B95}" dt="2022-04-19T13:19:32.804" v="2199"/>
        <pc:sldMkLst>
          <pc:docMk/>
          <pc:sldMk cId="3946847621" sldId="2685"/>
        </pc:sldMkLst>
        <pc:spChg chg="mod">
          <ac:chgData name="Stephanie Mattsson" userId="77fffe8b-8c64-4110-a56b-5eb7399c61b9" providerId="ADAL" clId="{77B27497-8CA6-8846-AF23-C01C91407B95}" dt="2022-03-29T08:52:10.906" v="54" actId="20577"/>
          <ac:spMkLst>
            <pc:docMk/>
            <pc:sldMk cId="3946847621" sldId="2685"/>
            <ac:spMk id="2" creationId="{C264A9B8-E019-D448-9788-515CE381B4C4}"/>
          </ac:spMkLst>
        </pc:spChg>
        <pc:spChg chg="mod">
          <ac:chgData name="Stephanie Mattsson" userId="77fffe8b-8c64-4110-a56b-5eb7399c61b9" providerId="ADAL" clId="{77B27497-8CA6-8846-AF23-C01C91407B95}" dt="2022-03-29T08:52:34.355" v="98" actId="20577"/>
          <ac:spMkLst>
            <pc:docMk/>
            <pc:sldMk cId="3946847621" sldId="2685"/>
            <ac:spMk id="3" creationId="{6E070D07-6FE9-F74B-B3AA-8926F00677C4}"/>
          </ac:spMkLst>
        </pc:spChg>
      </pc:sldChg>
      <pc:sldChg chg="add ord addCm">
        <pc:chgData name="Stephanie Mattsson" userId="77fffe8b-8c64-4110-a56b-5eb7399c61b9" providerId="ADAL" clId="{77B27497-8CA6-8846-AF23-C01C91407B95}" dt="2022-03-29T09:05:31.588" v="154"/>
        <pc:sldMkLst>
          <pc:docMk/>
          <pc:sldMk cId="2416028853" sldId="2686"/>
        </pc:sldMkLst>
      </pc:sldChg>
      <pc:sldChg chg="addSp delSp modSp add mod addCm delCm modCm">
        <pc:chgData name="Stephanie Mattsson" userId="77fffe8b-8c64-4110-a56b-5eb7399c61b9" providerId="ADAL" clId="{77B27497-8CA6-8846-AF23-C01C91407B95}" dt="2022-04-26T13:30:56.808" v="3037"/>
        <pc:sldMkLst>
          <pc:docMk/>
          <pc:sldMk cId="3889080991" sldId="2687"/>
        </pc:sldMkLst>
        <pc:spChg chg="add del mod">
          <ac:chgData name="Stephanie Mattsson" userId="77fffe8b-8c64-4110-a56b-5eb7399c61b9" providerId="ADAL" clId="{77B27497-8CA6-8846-AF23-C01C91407B95}" dt="2022-04-14T08:00:18.505" v="2118"/>
          <ac:spMkLst>
            <pc:docMk/>
            <pc:sldMk cId="3889080991" sldId="2687"/>
            <ac:spMk id="2" creationId="{B437BB53-6F1E-7C37-3E90-CFEB50A07A66}"/>
          </ac:spMkLst>
        </pc:spChg>
        <pc:spChg chg="mod">
          <ac:chgData name="Stephanie Mattsson" userId="77fffe8b-8c64-4110-a56b-5eb7399c61b9" providerId="ADAL" clId="{77B27497-8CA6-8846-AF23-C01C91407B95}" dt="2022-04-26T12:00:06.527" v="2445" actId="14100"/>
          <ac:spMkLst>
            <pc:docMk/>
            <pc:sldMk cId="3889080991" sldId="2687"/>
            <ac:spMk id="10" creationId="{F8235FB9-2DE9-D645-9563-5890E1BF4F01}"/>
          </ac:spMkLst>
        </pc:spChg>
        <pc:spChg chg="mod">
          <ac:chgData name="Stephanie Mattsson" userId="77fffe8b-8c64-4110-a56b-5eb7399c61b9" providerId="ADAL" clId="{77B27497-8CA6-8846-AF23-C01C91407B95}" dt="2022-03-29T09:14:28.672" v="295" actId="1036"/>
          <ac:spMkLst>
            <pc:docMk/>
            <pc:sldMk cId="3889080991" sldId="2687"/>
            <ac:spMk id="18" creationId="{12313B7D-1B06-4643-B5E3-076D4A21AD49}"/>
          </ac:spMkLst>
        </pc:spChg>
        <pc:spChg chg="add mod">
          <ac:chgData name="Stephanie Mattsson" userId="77fffe8b-8c64-4110-a56b-5eb7399c61b9" providerId="ADAL" clId="{77B27497-8CA6-8846-AF23-C01C91407B95}" dt="2022-03-29T09:14:47.437" v="300" actId="1076"/>
          <ac:spMkLst>
            <pc:docMk/>
            <pc:sldMk cId="3889080991" sldId="2687"/>
            <ac:spMk id="31" creationId="{51F35C31-1077-5C48-B101-D3B5A23A7480}"/>
          </ac:spMkLst>
        </pc:spChg>
        <pc:spChg chg="add mod">
          <ac:chgData name="Stephanie Mattsson" userId="77fffe8b-8c64-4110-a56b-5eb7399c61b9" providerId="ADAL" clId="{77B27497-8CA6-8846-AF23-C01C91407B95}" dt="2022-03-29T09:17:53.177" v="415" actId="1076"/>
          <ac:spMkLst>
            <pc:docMk/>
            <pc:sldMk cId="3889080991" sldId="2687"/>
            <ac:spMk id="35" creationId="{99465B3F-B1D2-084B-A374-D59A30E6466B}"/>
          </ac:spMkLst>
        </pc:spChg>
        <pc:spChg chg="del">
          <ac:chgData name="Stephanie Mattsson" userId="77fffe8b-8c64-4110-a56b-5eb7399c61b9" providerId="ADAL" clId="{77B27497-8CA6-8846-AF23-C01C91407B95}" dt="2022-03-29T09:12:02.648" v="174" actId="478"/>
          <ac:spMkLst>
            <pc:docMk/>
            <pc:sldMk cId="3889080991" sldId="2687"/>
            <ac:spMk id="85" creationId="{EE610EAF-4ED2-AE48-A3EA-7867FB3B03D9}"/>
          </ac:spMkLst>
        </pc:spChg>
        <pc:spChg chg="mod">
          <ac:chgData name="Stephanie Mattsson" userId="77fffe8b-8c64-4110-a56b-5eb7399c61b9" providerId="ADAL" clId="{77B27497-8CA6-8846-AF23-C01C91407B95}" dt="2022-03-29T09:16:04.824" v="332" actId="20577"/>
          <ac:spMkLst>
            <pc:docMk/>
            <pc:sldMk cId="3889080991" sldId="2687"/>
            <ac:spMk id="90" creationId="{36B2496A-E64F-2F40-AA3A-48AD2BEF58B7}"/>
          </ac:spMkLst>
        </pc:spChg>
        <pc:spChg chg="del">
          <ac:chgData name="Stephanie Mattsson" userId="77fffe8b-8c64-4110-a56b-5eb7399c61b9" providerId="ADAL" clId="{77B27497-8CA6-8846-AF23-C01C91407B95}" dt="2022-03-29T09:15:43.737" v="301" actId="478"/>
          <ac:spMkLst>
            <pc:docMk/>
            <pc:sldMk cId="3889080991" sldId="2687"/>
            <ac:spMk id="118" creationId="{5F414D3E-5F41-EB44-9FFA-D8F5C9E3FCD5}"/>
          </ac:spMkLst>
        </pc:spChg>
        <pc:spChg chg="mod">
          <ac:chgData name="Stephanie Mattsson" userId="77fffe8b-8c64-4110-a56b-5eb7399c61b9" providerId="ADAL" clId="{77B27497-8CA6-8846-AF23-C01C91407B95}" dt="2022-04-13T14:55:04.642" v="1975" actId="207"/>
          <ac:spMkLst>
            <pc:docMk/>
            <pc:sldMk cId="3889080991" sldId="2687"/>
            <ac:spMk id="130" creationId="{0F64B0DA-2E3C-A649-9EDE-D70D24FAB909}"/>
          </ac:spMkLst>
        </pc:spChg>
        <pc:spChg chg="mod">
          <ac:chgData name="Stephanie Mattsson" userId="77fffe8b-8c64-4110-a56b-5eb7399c61b9" providerId="ADAL" clId="{77B27497-8CA6-8846-AF23-C01C91407B95}" dt="2022-04-13T08:49:34.039" v="926" actId="207"/>
          <ac:spMkLst>
            <pc:docMk/>
            <pc:sldMk cId="3889080991" sldId="2687"/>
            <ac:spMk id="140" creationId="{53AD6AC8-EE46-014E-A126-5CCEDF8EDFE9}"/>
          </ac:spMkLst>
        </pc:spChg>
        <pc:spChg chg="del">
          <ac:chgData name="Stephanie Mattsson" userId="77fffe8b-8c64-4110-a56b-5eb7399c61b9" providerId="ADAL" clId="{77B27497-8CA6-8846-AF23-C01C91407B95}" dt="2022-03-29T09:15:55.726" v="302" actId="478"/>
          <ac:spMkLst>
            <pc:docMk/>
            <pc:sldMk cId="3889080991" sldId="2687"/>
            <ac:spMk id="1035" creationId="{1D3D7C0E-3423-104D-9F16-F25D7C436308}"/>
          </ac:spMkLst>
        </pc:spChg>
        <pc:spChg chg="mod">
          <ac:chgData name="Stephanie Mattsson" userId="77fffe8b-8c64-4110-a56b-5eb7399c61b9" providerId="ADAL" clId="{77B27497-8CA6-8846-AF23-C01C91407B95}" dt="2022-03-29T09:14:44.211" v="299" actId="1076"/>
          <ac:spMkLst>
            <pc:docMk/>
            <pc:sldMk cId="3889080991" sldId="2687"/>
            <ac:spMk id="1058" creationId="{72A11031-91A3-114D-A35C-ADA47C0A6E7C}"/>
          </ac:spMkLst>
        </pc:spChg>
        <pc:spChg chg="mod">
          <ac:chgData name="Stephanie Mattsson" userId="77fffe8b-8c64-4110-a56b-5eb7399c61b9" providerId="ADAL" clId="{77B27497-8CA6-8846-AF23-C01C91407B95}" dt="2022-04-14T07:58:32.909" v="2113" actId="20577"/>
          <ac:spMkLst>
            <pc:docMk/>
            <pc:sldMk cId="3889080991" sldId="2687"/>
            <ac:spMk id="1061" creationId="{49954F71-D706-9942-B3C1-E8E1AED7B24E}"/>
          </ac:spMkLst>
        </pc:spChg>
        <pc:picChg chg="mod">
          <ac:chgData name="Stephanie Mattsson" userId="77fffe8b-8c64-4110-a56b-5eb7399c61b9" providerId="ADAL" clId="{77B27497-8CA6-8846-AF23-C01C91407B95}" dt="2022-03-29T09:14:28.672" v="295" actId="1036"/>
          <ac:picMkLst>
            <pc:docMk/>
            <pc:sldMk cId="3889080991" sldId="2687"/>
            <ac:picMk id="24" creationId="{D206C55D-90F2-AD4A-852D-7F938DF2488E}"/>
          </ac:picMkLst>
        </pc:picChg>
        <pc:cxnChg chg="mod">
          <ac:chgData name="Stephanie Mattsson" userId="77fffe8b-8c64-4110-a56b-5eb7399c61b9" providerId="ADAL" clId="{77B27497-8CA6-8846-AF23-C01C91407B95}" dt="2022-03-29T09:14:40.887" v="298" actId="14100"/>
          <ac:cxnSpMkLst>
            <pc:docMk/>
            <pc:sldMk cId="3889080991" sldId="2687"/>
            <ac:cxnSpMk id="28" creationId="{B566D6A6-DE76-E940-A1E9-13248014F781}"/>
          </ac:cxnSpMkLst>
        </pc:cxnChg>
        <pc:cxnChg chg="mod">
          <ac:chgData name="Stephanie Mattsson" userId="77fffe8b-8c64-4110-a56b-5eb7399c61b9" providerId="ADAL" clId="{77B27497-8CA6-8846-AF23-C01C91407B95}" dt="2022-03-29T09:15:43.737" v="301" actId="478"/>
          <ac:cxnSpMkLst>
            <pc:docMk/>
            <pc:sldMk cId="3889080991" sldId="2687"/>
            <ac:cxnSpMk id="44" creationId="{3DF23200-9E4B-5746-A25B-DA4C7E5EDDBA}"/>
          </ac:cxnSpMkLst>
        </pc:cxnChg>
        <pc:cxnChg chg="mod">
          <ac:chgData name="Stephanie Mattsson" userId="77fffe8b-8c64-4110-a56b-5eb7399c61b9" providerId="ADAL" clId="{77B27497-8CA6-8846-AF23-C01C91407B95}" dt="2022-03-29T09:15:55.726" v="302" actId="478"/>
          <ac:cxnSpMkLst>
            <pc:docMk/>
            <pc:sldMk cId="3889080991" sldId="2687"/>
            <ac:cxnSpMk id="82" creationId="{D9385769-8088-C14F-8F52-EB7DB85DBBB8}"/>
          </ac:cxnSpMkLst>
        </pc:cxnChg>
        <pc:cxnChg chg="mod">
          <ac:chgData name="Stephanie Mattsson" userId="77fffe8b-8c64-4110-a56b-5eb7399c61b9" providerId="ADAL" clId="{77B27497-8CA6-8846-AF23-C01C91407B95}" dt="2022-03-29T09:15:55.726" v="302" actId="478"/>
          <ac:cxnSpMkLst>
            <pc:docMk/>
            <pc:sldMk cId="3889080991" sldId="2687"/>
            <ac:cxnSpMk id="83" creationId="{4D7C5E1B-43A4-E842-9833-894FE264ADE7}"/>
          </ac:cxnSpMkLst>
        </pc:cxnChg>
        <pc:cxnChg chg="mod">
          <ac:chgData name="Stephanie Mattsson" userId="77fffe8b-8c64-4110-a56b-5eb7399c61b9" providerId="ADAL" clId="{77B27497-8CA6-8846-AF23-C01C91407B95}" dt="2022-03-29T09:15:43.737" v="301" actId="478"/>
          <ac:cxnSpMkLst>
            <pc:docMk/>
            <pc:sldMk cId="3889080991" sldId="2687"/>
            <ac:cxnSpMk id="119" creationId="{0792F2EB-9B6D-554C-9248-DCBBE6DC2902}"/>
          </ac:cxnSpMkLst>
        </pc:cxnChg>
        <pc:cxnChg chg="mod">
          <ac:chgData name="Stephanie Mattsson" userId="77fffe8b-8c64-4110-a56b-5eb7399c61b9" providerId="ADAL" clId="{77B27497-8CA6-8846-AF23-C01C91407B95}" dt="2022-03-29T09:14:28.672" v="295" actId="1036"/>
          <ac:cxnSpMkLst>
            <pc:docMk/>
            <pc:sldMk cId="3889080991" sldId="2687"/>
            <ac:cxnSpMk id="128" creationId="{0D4292AA-30C3-AD43-8360-9238C5A30A7A}"/>
          </ac:cxnSpMkLst>
        </pc:cxnChg>
      </pc:sldChg>
      <pc:sldChg chg="delSp modSp add mod modCm">
        <pc:chgData name="Stephanie Mattsson" userId="77fffe8b-8c64-4110-a56b-5eb7399c61b9" providerId="ADAL" clId="{77B27497-8CA6-8846-AF23-C01C91407B95}" dt="2022-03-29T09:30:48.758" v="467" actId="478"/>
        <pc:sldMkLst>
          <pc:docMk/>
          <pc:sldMk cId="2443848229" sldId="2688"/>
        </pc:sldMkLst>
        <pc:spChg chg="del">
          <ac:chgData name="Stephanie Mattsson" userId="77fffe8b-8c64-4110-a56b-5eb7399c61b9" providerId="ADAL" clId="{77B27497-8CA6-8846-AF23-C01C91407B95}" dt="2022-03-29T09:25:04.084" v="418" actId="478"/>
          <ac:spMkLst>
            <pc:docMk/>
            <pc:sldMk cId="2443848229" sldId="2688"/>
            <ac:spMk id="12" creationId="{2699D5BB-7FCB-0A49-A6E3-27CD185610A7}"/>
          </ac:spMkLst>
        </pc:spChg>
        <pc:spChg chg="del">
          <ac:chgData name="Stephanie Mattsson" userId="77fffe8b-8c64-4110-a56b-5eb7399c61b9" providerId="ADAL" clId="{77B27497-8CA6-8846-AF23-C01C91407B95}" dt="2022-03-29T09:25:04.084" v="418" actId="478"/>
          <ac:spMkLst>
            <pc:docMk/>
            <pc:sldMk cId="2443848229" sldId="2688"/>
            <ac:spMk id="13" creationId="{A5BCCAB7-C39E-7546-8449-9812D71E9109}"/>
          </ac:spMkLst>
        </pc:spChg>
        <pc:spChg chg="del">
          <ac:chgData name="Stephanie Mattsson" userId="77fffe8b-8c64-4110-a56b-5eb7399c61b9" providerId="ADAL" clId="{77B27497-8CA6-8846-AF23-C01C91407B95}" dt="2022-03-29T09:25:04.084" v="418" actId="478"/>
          <ac:spMkLst>
            <pc:docMk/>
            <pc:sldMk cId="2443848229" sldId="2688"/>
            <ac:spMk id="14" creationId="{887143CE-90D5-F24C-8015-676615C7CD2B}"/>
          </ac:spMkLst>
        </pc:spChg>
        <pc:spChg chg="del">
          <ac:chgData name="Stephanie Mattsson" userId="77fffe8b-8c64-4110-a56b-5eb7399c61b9" providerId="ADAL" clId="{77B27497-8CA6-8846-AF23-C01C91407B95}" dt="2022-03-29T09:25:04.084" v="418" actId="478"/>
          <ac:spMkLst>
            <pc:docMk/>
            <pc:sldMk cId="2443848229" sldId="2688"/>
            <ac:spMk id="15" creationId="{790E7962-39A2-AB45-AE87-9DAC1BAFEE5D}"/>
          </ac:spMkLst>
        </pc:spChg>
        <pc:spChg chg="mod">
          <ac:chgData name="Stephanie Mattsson" userId="77fffe8b-8c64-4110-a56b-5eb7399c61b9" providerId="ADAL" clId="{77B27497-8CA6-8846-AF23-C01C91407B95}" dt="2022-03-29T09:29:11.381" v="444" actId="1036"/>
          <ac:spMkLst>
            <pc:docMk/>
            <pc:sldMk cId="2443848229" sldId="2688"/>
            <ac:spMk id="16" creationId="{7FFBAFA5-A60B-034B-AB1A-84594233A84A}"/>
          </ac:spMkLst>
        </pc:spChg>
        <pc:spChg chg="mod">
          <ac:chgData name="Stephanie Mattsson" userId="77fffe8b-8c64-4110-a56b-5eb7399c61b9" providerId="ADAL" clId="{77B27497-8CA6-8846-AF23-C01C91407B95}" dt="2022-03-29T09:29:11.381" v="444" actId="1036"/>
          <ac:spMkLst>
            <pc:docMk/>
            <pc:sldMk cId="2443848229" sldId="2688"/>
            <ac:spMk id="17" creationId="{56B20848-E6FF-8B49-8428-DE4FB271F10B}"/>
          </ac:spMkLst>
        </pc:spChg>
        <pc:spChg chg="mod">
          <ac:chgData name="Stephanie Mattsson" userId="77fffe8b-8c64-4110-a56b-5eb7399c61b9" providerId="ADAL" clId="{77B27497-8CA6-8846-AF23-C01C91407B95}" dt="2022-03-29T09:29:11.381" v="444" actId="1036"/>
          <ac:spMkLst>
            <pc:docMk/>
            <pc:sldMk cId="2443848229" sldId="2688"/>
            <ac:spMk id="18" creationId="{363FA856-F6AB-D048-82DA-389C3B2B1DAA}"/>
          </ac:spMkLst>
        </pc:spChg>
        <pc:spChg chg="mod">
          <ac:chgData name="Stephanie Mattsson" userId="77fffe8b-8c64-4110-a56b-5eb7399c61b9" providerId="ADAL" clId="{77B27497-8CA6-8846-AF23-C01C91407B95}" dt="2022-03-29T09:29:11.381" v="444" actId="1036"/>
          <ac:spMkLst>
            <pc:docMk/>
            <pc:sldMk cId="2443848229" sldId="2688"/>
            <ac:spMk id="19" creationId="{9182A0A8-CF14-9E4A-A13F-9D5CF87F852A}"/>
          </ac:spMkLst>
        </pc:spChg>
        <pc:spChg chg="mod">
          <ac:chgData name="Stephanie Mattsson" userId="77fffe8b-8c64-4110-a56b-5eb7399c61b9" providerId="ADAL" clId="{77B27497-8CA6-8846-AF23-C01C91407B95}" dt="2022-03-29T09:29:11.381" v="444" actId="1036"/>
          <ac:spMkLst>
            <pc:docMk/>
            <pc:sldMk cId="2443848229" sldId="2688"/>
            <ac:spMk id="21" creationId="{50DBE612-6327-D74C-A874-0D4449E29E14}"/>
          </ac:spMkLst>
        </pc:spChg>
        <pc:spChg chg="del">
          <ac:chgData name="Stephanie Mattsson" userId="77fffe8b-8c64-4110-a56b-5eb7399c61b9" providerId="ADAL" clId="{77B27497-8CA6-8846-AF23-C01C91407B95}" dt="2022-03-29T09:30:48.758" v="467" actId="478"/>
          <ac:spMkLst>
            <pc:docMk/>
            <pc:sldMk cId="2443848229" sldId="2688"/>
            <ac:spMk id="29" creationId="{E118D785-8D2F-EA42-8466-87E7A96DCDA0}"/>
          </ac:spMkLst>
        </pc:spChg>
        <pc:spChg chg="mod">
          <ac:chgData name="Stephanie Mattsson" userId="77fffe8b-8c64-4110-a56b-5eb7399c61b9" providerId="ADAL" clId="{77B27497-8CA6-8846-AF23-C01C91407B95}" dt="2022-03-29T09:30:02.711" v="465" actId="790"/>
          <ac:spMkLst>
            <pc:docMk/>
            <pc:sldMk cId="2443848229" sldId="2688"/>
            <ac:spMk id="30" creationId="{96F721C1-2EC9-F04A-9BF0-B1B2855DE6AE}"/>
          </ac:spMkLst>
        </pc:spChg>
        <pc:spChg chg="del">
          <ac:chgData name="Stephanie Mattsson" userId="77fffe8b-8c64-4110-a56b-5eb7399c61b9" providerId="ADAL" clId="{77B27497-8CA6-8846-AF23-C01C91407B95}" dt="2022-03-29T09:30:48.758" v="467" actId="478"/>
          <ac:spMkLst>
            <pc:docMk/>
            <pc:sldMk cId="2443848229" sldId="2688"/>
            <ac:spMk id="31" creationId="{E0E935FF-BCBA-B143-9528-C114CACBA1DB}"/>
          </ac:spMkLst>
        </pc:spChg>
        <pc:spChg chg="del">
          <ac:chgData name="Stephanie Mattsson" userId="77fffe8b-8c64-4110-a56b-5eb7399c61b9" providerId="ADAL" clId="{77B27497-8CA6-8846-AF23-C01C91407B95}" dt="2022-03-29T09:30:48.758" v="467" actId="478"/>
          <ac:spMkLst>
            <pc:docMk/>
            <pc:sldMk cId="2443848229" sldId="2688"/>
            <ac:spMk id="32" creationId="{DF6E5E70-06A1-7A48-9E2C-4DB3B1704351}"/>
          </ac:spMkLst>
        </pc:spChg>
        <pc:spChg chg="del">
          <ac:chgData name="Stephanie Mattsson" userId="77fffe8b-8c64-4110-a56b-5eb7399c61b9" providerId="ADAL" clId="{77B27497-8CA6-8846-AF23-C01C91407B95}" dt="2022-03-29T09:30:48.758" v="467" actId="478"/>
          <ac:spMkLst>
            <pc:docMk/>
            <pc:sldMk cId="2443848229" sldId="2688"/>
            <ac:spMk id="33" creationId="{6BAA26A1-C6A4-1A49-9C64-963DF6081153}"/>
          </ac:spMkLst>
        </pc:spChg>
        <pc:spChg chg="del">
          <ac:chgData name="Stephanie Mattsson" userId="77fffe8b-8c64-4110-a56b-5eb7399c61b9" providerId="ADAL" clId="{77B27497-8CA6-8846-AF23-C01C91407B95}" dt="2022-03-29T09:30:48.758" v="467" actId="478"/>
          <ac:spMkLst>
            <pc:docMk/>
            <pc:sldMk cId="2443848229" sldId="2688"/>
            <ac:spMk id="34" creationId="{DFEF0C06-2F8E-3D44-A371-6BF404EA3F36}"/>
          </ac:spMkLst>
        </pc:spChg>
        <pc:spChg chg="del">
          <ac:chgData name="Stephanie Mattsson" userId="77fffe8b-8c64-4110-a56b-5eb7399c61b9" providerId="ADAL" clId="{77B27497-8CA6-8846-AF23-C01C91407B95}" dt="2022-03-29T09:30:48.758" v="467" actId="478"/>
          <ac:spMkLst>
            <pc:docMk/>
            <pc:sldMk cId="2443848229" sldId="2688"/>
            <ac:spMk id="35" creationId="{D82B1039-7359-0648-873F-779E9E53442F}"/>
          </ac:spMkLst>
        </pc:spChg>
      </pc:sldChg>
      <pc:sldChg chg="delSp modSp add mod">
        <pc:chgData name="Stephanie Mattsson" userId="77fffe8b-8c64-4110-a56b-5eb7399c61b9" providerId="ADAL" clId="{77B27497-8CA6-8846-AF23-C01C91407B95}" dt="2022-03-29T09:32:47.751" v="492" actId="790"/>
        <pc:sldMkLst>
          <pc:docMk/>
          <pc:sldMk cId="3249972939" sldId="2689"/>
        </pc:sldMkLst>
        <pc:spChg chg="mod">
          <ac:chgData name="Stephanie Mattsson" userId="77fffe8b-8c64-4110-a56b-5eb7399c61b9" providerId="ADAL" clId="{77B27497-8CA6-8846-AF23-C01C91407B95}" dt="2022-03-29T09:32:47.751" v="492" actId="790"/>
          <ac:spMkLst>
            <pc:docMk/>
            <pc:sldMk cId="3249972939" sldId="2689"/>
            <ac:spMk id="4" creationId="{6A1E76ED-C8D8-5E4B-9681-73C1AE717609}"/>
          </ac:spMkLst>
        </pc:spChg>
        <pc:spChg chg="mod">
          <ac:chgData name="Stephanie Mattsson" userId="77fffe8b-8c64-4110-a56b-5eb7399c61b9" providerId="ADAL" clId="{77B27497-8CA6-8846-AF23-C01C91407B95}" dt="2022-03-29T09:32:47.751" v="492" actId="790"/>
          <ac:spMkLst>
            <pc:docMk/>
            <pc:sldMk cId="3249972939" sldId="2689"/>
            <ac:spMk id="5" creationId="{5E7065EF-31F1-EB46-959A-2306365D4CBA}"/>
          </ac:spMkLst>
        </pc:spChg>
        <pc:spChg chg="mod">
          <ac:chgData name="Stephanie Mattsson" userId="77fffe8b-8c64-4110-a56b-5eb7399c61b9" providerId="ADAL" clId="{77B27497-8CA6-8846-AF23-C01C91407B95}" dt="2022-03-29T09:32:47.751" v="492" actId="790"/>
          <ac:spMkLst>
            <pc:docMk/>
            <pc:sldMk cId="3249972939" sldId="2689"/>
            <ac:spMk id="6" creationId="{8314365A-8919-134F-982B-223810C64BFA}"/>
          </ac:spMkLst>
        </pc:spChg>
        <pc:spChg chg="mod">
          <ac:chgData name="Stephanie Mattsson" userId="77fffe8b-8c64-4110-a56b-5eb7399c61b9" providerId="ADAL" clId="{77B27497-8CA6-8846-AF23-C01C91407B95}" dt="2022-03-29T09:32:47.751" v="492" actId="790"/>
          <ac:spMkLst>
            <pc:docMk/>
            <pc:sldMk cId="3249972939" sldId="2689"/>
            <ac:spMk id="7" creationId="{42986547-146A-D645-A5BB-4C601F20EE26}"/>
          </ac:spMkLst>
        </pc:spChg>
        <pc:spChg chg="mod">
          <ac:chgData name="Stephanie Mattsson" userId="77fffe8b-8c64-4110-a56b-5eb7399c61b9" providerId="ADAL" clId="{77B27497-8CA6-8846-AF23-C01C91407B95}" dt="2022-03-29T09:32:47.751" v="492" actId="790"/>
          <ac:spMkLst>
            <pc:docMk/>
            <pc:sldMk cId="3249972939" sldId="2689"/>
            <ac:spMk id="8" creationId="{9B0A4E4A-E0EF-7646-8EDD-C76A885AC255}"/>
          </ac:spMkLst>
        </pc:spChg>
        <pc:spChg chg="mod">
          <ac:chgData name="Stephanie Mattsson" userId="77fffe8b-8c64-4110-a56b-5eb7399c61b9" providerId="ADAL" clId="{77B27497-8CA6-8846-AF23-C01C91407B95}" dt="2022-03-29T09:32:47.751" v="492" actId="790"/>
          <ac:spMkLst>
            <pc:docMk/>
            <pc:sldMk cId="3249972939" sldId="2689"/>
            <ac:spMk id="9" creationId="{25D7FB4C-EEE6-5144-A63E-6C4358ADE300}"/>
          </ac:spMkLst>
        </pc:spChg>
        <pc:spChg chg="mod">
          <ac:chgData name="Stephanie Mattsson" userId="77fffe8b-8c64-4110-a56b-5eb7399c61b9" providerId="ADAL" clId="{77B27497-8CA6-8846-AF23-C01C91407B95}" dt="2022-03-29T09:32:47.751" v="492" actId="790"/>
          <ac:spMkLst>
            <pc:docMk/>
            <pc:sldMk cId="3249972939" sldId="2689"/>
            <ac:spMk id="10" creationId="{FF3FD003-A169-AD48-A4A9-2DFA10E7A4A5}"/>
          </ac:spMkLst>
        </pc:spChg>
        <pc:spChg chg="del">
          <ac:chgData name="Stephanie Mattsson" userId="77fffe8b-8c64-4110-a56b-5eb7399c61b9" providerId="ADAL" clId="{77B27497-8CA6-8846-AF23-C01C91407B95}" dt="2022-03-29T09:30:54.558" v="468" actId="478"/>
          <ac:spMkLst>
            <pc:docMk/>
            <pc:sldMk cId="3249972939" sldId="2689"/>
            <ac:spMk id="16" creationId="{7FFBAFA5-A60B-034B-AB1A-84594233A84A}"/>
          </ac:spMkLst>
        </pc:spChg>
        <pc:spChg chg="del">
          <ac:chgData name="Stephanie Mattsson" userId="77fffe8b-8c64-4110-a56b-5eb7399c61b9" providerId="ADAL" clId="{77B27497-8CA6-8846-AF23-C01C91407B95}" dt="2022-03-29T09:30:54.558" v="468" actId="478"/>
          <ac:spMkLst>
            <pc:docMk/>
            <pc:sldMk cId="3249972939" sldId="2689"/>
            <ac:spMk id="17" creationId="{56B20848-E6FF-8B49-8428-DE4FB271F10B}"/>
          </ac:spMkLst>
        </pc:spChg>
        <pc:spChg chg="del">
          <ac:chgData name="Stephanie Mattsson" userId="77fffe8b-8c64-4110-a56b-5eb7399c61b9" providerId="ADAL" clId="{77B27497-8CA6-8846-AF23-C01C91407B95}" dt="2022-03-29T09:30:54.558" v="468" actId="478"/>
          <ac:spMkLst>
            <pc:docMk/>
            <pc:sldMk cId="3249972939" sldId="2689"/>
            <ac:spMk id="18" creationId="{363FA856-F6AB-D048-82DA-389C3B2B1DAA}"/>
          </ac:spMkLst>
        </pc:spChg>
        <pc:spChg chg="del">
          <ac:chgData name="Stephanie Mattsson" userId="77fffe8b-8c64-4110-a56b-5eb7399c61b9" providerId="ADAL" clId="{77B27497-8CA6-8846-AF23-C01C91407B95}" dt="2022-03-29T09:30:54.558" v="468" actId="478"/>
          <ac:spMkLst>
            <pc:docMk/>
            <pc:sldMk cId="3249972939" sldId="2689"/>
            <ac:spMk id="19" creationId="{9182A0A8-CF14-9E4A-A13F-9D5CF87F852A}"/>
          </ac:spMkLst>
        </pc:spChg>
        <pc:spChg chg="mod">
          <ac:chgData name="Stephanie Mattsson" userId="77fffe8b-8c64-4110-a56b-5eb7399c61b9" providerId="ADAL" clId="{77B27497-8CA6-8846-AF23-C01C91407B95}" dt="2022-03-29T09:32:47.751" v="492" actId="790"/>
          <ac:spMkLst>
            <pc:docMk/>
            <pc:sldMk cId="3249972939" sldId="2689"/>
            <ac:spMk id="20" creationId="{D9F7EFCA-FB37-0F45-8299-55F895B34DDA}"/>
          </ac:spMkLst>
        </pc:spChg>
        <pc:spChg chg="del">
          <ac:chgData name="Stephanie Mattsson" userId="77fffe8b-8c64-4110-a56b-5eb7399c61b9" providerId="ADAL" clId="{77B27497-8CA6-8846-AF23-C01C91407B95}" dt="2022-03-29T09:30:54.558" v="468" actId="478"/>
          <ac:spMkLst>
            <pc:docMk/>
            <pc:sldMk cId="3249972939" sldId="2689"/>
            <ac:spMk id="21" creationId="{50DBE612-6327-D74C-A874-0D4449E29E14}"/>
          </ac:spMkLst>
        </pc:spChg>
        <pc:spChg chg="mod">
          <ac:chgData name="Stephanie Mattsson" userId="77fffe8b-8c64-4110-a56b-5eb7399c61b9" providerId="ADAL" clId="{77B27497-8CA6-8846-AF23-C01C91407B95}" dt="2022-03-29T09:32:47.751" v="492" actId="790"/>
          <ac:spMkLst>
            <pc:docMk/>
            <pc:sldMk cId="3249972939" sldId="2689"/>
            <ac:spMk id="22" creationId="{52559A05-52F3-CC4D-B094-B13CFC2B684F}"/>
          </ac:spMkLst>
        </pc:spChg>
        <pc:spChg chg="mod">
          <ac:chgData name="Stephanie Mattsson" userId="77fffe8b-8c64-4110-a56b-5eb7399c61b9" providerId="ADAL" clId="{77B27497-8CA6-8846-AF23-C01C91407B95}" dt="2022-03-29T09:31:03.117" v="491" actId="1035"/>
          <ac:spMkLst>
            <pc:docMk/>
            <pc:sldMk cId="3249972939" sldId="2689"/>
            <ac:spMk id="29" creationId="{E118D785-8D2F-EA42-8466-87E7A96DCDA0}"/>
          </ac:spMkLst>
        </pc:spChg>
        <pc:spChg chg="mod">
          <ac:chgData name="Stephanie Mattsson" userId="77fffe8b-8c64-4110-a56b-5eb7399c61b9" providerId="ADAL" clId="{77B27497-8CA6-8846-AF23-C01C91407B95}" dt="2022-03-29T09:31:03.117" v="491" actId="1035"/>
          <ac:spMkLst>
            <pc:docMk/>
            <pc:sldMk cId="3249972939" sldId="2689"/>
            <ac:spMk id="31" creationId="{E0E935FF-BCBA-B143-9528-C114CACBA1DB}"/>
          </ac:spMkLst>
        </pc:spChg>
        <pc:spChg chg="mod">
          <ac:chgData name="Stephanie Mattsson" userId="77fffe8b-8c64-4110-a56b-5eb7399c61b9" providerId="ADAL" clId="{77B27497-8CA6-8846-AF23-C01C91407B95}" dt="2022-03-29T09:31:03.117" v="491" actId="1035"/>
          <ac:spMkLst>
            <pc:docMk/>
            <pc:sldMk cId="3249972939" sldId="2689"/>
            <ac:spMk id="32" creationId="{DF6E5E70-06A1-7A48-9E2C-4DB3B1704351}"/>
          </ac:spMkLst>
        </pc:spChg>
        <pc:spChg chg="mod">
          <ac:chgData name="Stephanie Mattsson" userId="77fffe8b-8c64-4110-a56b-5eb7399c61b9" providerId="ADAL" clId="{77B27497-8CA6-8846-AF23-C01C91407B95}" dt="2022-03-29T09:31:03.117" v="491" actId="1035"/>
          <ac:spMkLst>
            <pc:docMk/>
            <pc:sldMk cId="3249972939" sldId="2689"/>
            <ac:spMk id="33" creationId="{6BAA26A1-C6A4-1A49-9C64-963DF6081153}"/>
          </ac:spMkLst>
        </pc:spChg>
        <pc:spChg chg="mod">
          <ac:chgData name="Stephanie Mattsson" userId="77fffe8b-8c64-4110-a56b-5eb7399c61b9" providerId="ADAL" clId="{77B27497-8CA6-8846-AF23-C01C91407B95}" dt="2022-03-29T09:31:03.117" v="491" actId="1035"/>
          <ac:spMkLst>
            <pc:docMk/>
            <pc:sldMk cId="3249972939" sldId="2689"/>
            <ac:spMk id="34" creationId="{DFEF0C06-2F8E-3D44-A371-6BF404EA3F36}"/>
          </ac:spMkLst>
        </pc:spChg>
        <pc:spChg chg="mod">
          <ac:chgData name="Stephanie Mattsson" userId="77fffe8b-8c64-4110-a56b-5eb7399c61b9" providerId="ADAL" clId="{77B27497-8CA6-8846-AF23-C01C91407B95}" dt="2022-03-29T09:31:03.117" v="491" actId="1035"/>
          <ac:spMkLst>
            <pc:docMk/>
            <pc:sldMk cId="3249972939" sldId="2689"/>
            <ac:spMk id="35" creationId="{D82B1039-7359-0648-873F-779E9E53442F}"/>
          </ac:spMkLst>
        </pc:spChg>
      </pc:sldChg>
      <pc:sldChg chg="addSp delSp modSp mod addCm delCm modCm">
        <pc:chgData name="Stephanie Mattsson" userId="77fffe8b-8c64-4110-a56b-5eb7399c61b9" providerId="ADAL" clId="{77B27497-8CA6-8846-AF23-C01C91407B95}" dt="2022-05-31T07:46:03.832" v="3119" actId="14100"/>
        <pc:sldMkLst>
          <pc:docMk/>
          <pc:sldMk cId="3300982436" sldId="2690"/>
        </pc:sldMkLst>
        <pc:spChg chg="del">
          <ac:chgData name="Stephanie Mattsson" userId="77fffe8b-8c64-4110-a56b-5eb7399c61b9" providerId="ADAL" clId="{77B27497-8CA6-8846-AF23-C01C91407B95}" dt="2022-05-31T07:41:08.592" v="3044" actId="478"/>
          <ac:spMkLst>
            <pc:docMk/>
            <pc:sldMk cId="3300982436" sldId="2690"/>
            <ac:spMk id="3" creationId="{1F0C1002-4FF3-3717-53A9-8C2AAEFBAD4E}"/>
          </ac:spMkLst>
        </pc:spChg>
        <pc:spChg chg="add mod">
          <ac:chgData name="Stephanie Mattsson" userId="77fffe8b-8c64-4110-a56b-5eb7399c61b9" providerId="ADAL" clId="{77B27497-8CA6-8846-AF23-C01C91407B95}" dt="2022-05-31T07:46:03.832" v="3119" actId="14100"/>
          <ac:spMkLst>
            <pc:docMk/>
            <pc:sldMk cId="3300982436" sldId="2690"/>
            <ac:spMk id="6" creationId="{D909015C-367F-F63C-214D-325BDFA0D67A}"/>
          </ac:spMkLst>
        </pc:spChg>
        <pc:spChg chg="mod">
          <ac:chgData name="Stephanie Mattsson" userId="77fffe8b-8c64-4110-a56b-5eb7399c61b9" providerId="ADAL" clId="{77B27497-8CA6-8846-AF23-C01C91407B95}" dt="2022-05-31T07:45:35.164" v="3078" actId="20577"/>
          <ac:spMkLst>
            <pc:docMk/>
            <pc:sldMk cId="3300982436" sldId="2690"/>
            <ac:spMk id="13" creationId="{06222AF4-D078-4F46-B2D6-F55B2B278263}"/>
          </ac:spMkLst>
        </pc:spChg>
        <pc:spChg chg="mod">
          <ac:chgData name="Stephanie Mattsson" userId="77fffe8b-8c64-4110-a56b-5eb7399c61b9" providerId="ADAL" clId="{77B27497-8CA6-8846-AF23-C01C91407B95}" dt="2022-04-26T12:00:19.225" v="2451" actId="1036"/>
          <ac:spMkLst>
            <pc:docMk/>
            <pc:sldMk cId="3300982436" sldId="2690"/>
            <ac:spMk id="16" creationId="{506743C5-B528-E545-B065-67D227B0BA6B}"/>
          </ac:spMkLst>
        </pc:spChg>
        <pc:spChg chg="mod">
          <ac:chgData name="Stephanie Mattsson" userId="77fffe8b-8c64-4110-a56b-5eb7399c61b9" providerId="ADAL" clId="{77B27497-8CA6-8846-AF23-C01C91407B95}" dt="2022-04-14T08:02:19.886" v="2126" actId="207"/>
          <ac:spMkLst>
            <pc:docMk/>
            <pc:sldMk cId="3300982436" sldId="2690"/>
            <ac:spMk id="20" creationId="{E87AFB51-2AD0-AA43-A13B-F90B17ECA3E8}"/>
          </ac:spMkLst>
        </pc:spChg>
        <pc:spChg chg="mod">
          <ac:chgData name="Stephanie Mattsson" userId="77fffe8b-8c64-4110-a56b-5eb7399c61b9" providerId="ADAL" clId="{77B27497-8CA6-8846-AF23-C01C91407B95}" dt="2022-04-14T08:02:19.886" v="2126" actId="207"/>
          <ac:spMkLst>
            <pc:docMk/>
            <pc:sldMk cId="3300982436" sldId="2690"/>
            <ac:spMk id="21" creationId="{172CEFD2-F6A7-9140-95B3-BBFB0001EE47}"/>
          </ac:spMkLst>
        </pc:spChg>
        <pc:spChg chg="del mod">
          <ac:chgData name="Stephanie Mattsson" userId="77fffe8b-8c64-4110-a56b-5eb7399c61b9" providerId="ADAL" clId="{77B27497-8CA6-8846-AF23-C01C91407B95}" dt="2022-05-31T07:41:06.960" v="3042" actId="21"/>
          <ac:spMkLst>
            <pc:docMk/>
            <pc:sldMk cId="3300982436" sldId="2690"/>
            <ac:spMk id="22" creationId="{7B545557-902B-604C-91DC-3CEE00377852}"/>
          </ac:spMkLst>
        </pc:spChg>
        <pc:spChg chg="mod">
          <ac:chgData name="Stephanie Mattsson" userId="77fffe8b-8c64-4110-a56b-5eb7399c61b9" providerId="ADAL" clId="{77B27497-8CA6-8846-AF23-C01C91407B95}" dt="2022-04-26T12:00:19.225" v="2451" actId="1036"/>
          <ac:spMkLst>
            <pc:docMk/>
            <pc:sldMk cId="3300982436" sldId="2690"/>
            <ac:spMk id="29" creationId="{C551B276-5B9D-E14D-90AB-63AD45523BA2}"/>
          </ac:spMkLst>
        </pc:spChg>
        <pc:spChg chg="mod">
          <ac:chgData name="Stephanie Mattsson" userId="77fffe8b-8c64-4110-a56b-5eb7399c61b9" providerId="ADAL" clId="{77B27497-8CA6-8846-AF23-C01C91407B95}" dt="2022-04-26T12:00:19.225" v="2451" actId="1036"/>
          <ac:spMkLst>
            <pc:docMk/>
            <pc:sldMk cId="3300982436" sldId="2690"/>
            <ac:spMk id="37" creationId="{4C91C960-395A-314B-874F-B6A440DDADFF}"/>
          </ac:spMkLst>
        </pc:spChg>
        <pc:spChg chg="mod">
          <ac:chgData name="Stephanie Mattsson" userId="77fffe8b-8c64-4110-a56b-5eb7399c61b9" providerId="ADAL" clId="{77B27497-8CA6-8846-AF23-C01C91407B95}" dt="2022-05-31T07:42:54.240" v="3048" actId="166"/>
          <ac:spMkLst>
            <pc:docMk/>
            <pc:sldMk cId="3300982436" sldId="2690"/>
            <ac:spMk id="39" creationId="{814A85AC-86B3-F240-87A1-2EEB12D41B48}"/>
          </ac:spMkLst>
        </pc:spChg>
        <pc:spChg chg="mod">
          <ac:chgData name="Stephanie Mattsson" userId="77fffe8b-8c64-4110-a56b-5eb7399c61b9" providerId="ADAL" clId="{77B27497-8CA6-8846-AF23-C01C91407B95}" dt="2022-05-31T07:41:24.567" v="3046" actId="166"/>
          <ac:spMkLst>
            <pc:docMk/>
            <pc:sldMk cId="3300982436" sldId="2690"/>
            <ac:spMk id="41" creationId="{3F4F0F97-8DD1-414C-9337-4B01158B235A}"/>
          </ac:spMkLst>
        </pc:spChg>
        <pc:spChg chg="mod">
          <ac:chgData name="Stephanie Mattsson" userId="77fffe8b-8c64-4110-a56b-5eb7399c61b9" providerId="ADAL" clId="{77B27497-8CA6-8846-AF23-C01C91407B95}" dt="2022-04-14T08:01:54.483" v="2123" actId="207"/>
          <ac:spMkLst>
            <pc:docMk/>
            <pc:sldMk cId="3300982436" sldId="2690"/>
            <ac:spMk id="44" creationId="{DF2671B8-985F-2E43-962E-A854BCA2EEB4}"/>
          </ac:spMkLst>
        </pc:spChg>
        <pc:spChg chg="mod">
          <ac:chgData name="Stephanie Mattsson" userId="77fffe8b-8c64-4110-a56b-5eb7399c61b9" providerId="ADAL" clId="{77B27497-8CA6-8846-AF23-C01C91407B95}" dt="2022-05-31T07:44:59.550" v="3060"/>
          <ac:spMkLst>
            <pc:docMk/>
            <pc:sldMk cId="3300982436" sldId="2690"/>
            <ac:spMk id="47" creationId="{C764A978-D52E-BF47-A9A1-2D0E08A79672}"/>
          </ac:spMkLst>
        </pc:spChg>
        <pc:spChg chg="mod">
          <ac:chgData name="Stephanie Mattsson" userId="77fffe8b-8c64-4110-a56b-5eb7399c61b9" providerId="ADAL" clId="{77B27497-8CA6-8846-AF23-C01C91407B95}" dt="2022-04-26T12:00:19.225" v="2451" actId="1036"/>
          <ac:spMkLst>
            <pc:docMk/>
            <pc:sldMk cId="3300982436" sldId="2690"/>
            <ac:spMk id="48" creationId="{AC52AB05-03F7-5F4E-9614-83CCBB15B634}"/>
          </ac:spMkLst>
        </pc:spChg>
        <pc:spChg chg="mod">
          <ac:chgData name="Stephanie Mattsson" userId="77fffe8b-8c64-4110-a56b-5eb7399c61b9" providerId="ADAL" clId="{77B27497-8CA6-8846-AF23-C01C91407B95}" dt="2022-05-31T07:45:16.463" v="3075" actId="1036"/>
          <ac:spMkLst>
            <pc:docMk/>
            <pc:sldMk cId="3300982436" sldId="2690"/>
            <ac:spMk id="50" creationId="{F5C25EC6-E1B5-3249-A9DA-8379D65AD0AF}"/>
          </ac:spMkLst>
        </pc:spChg>
        <pc:spChg chg="add mod">
          <ac:chgData name="Stephanie Mattsson" userId="77fffe8b-8c64-4110-a56b-5eb7399c61b9" providerId="ADAL" clId="{77B27497-8CA6-8846-AF23-C01C91407B95}" dt="2022-05-31T07:44:18.447" v="3059"/>
          <ac:spMkLst>
            <pc:docMk/>
            <pc:sldMk cId="3300982436" sldId="2690"/>
            <ac:spMk id="55" creationId="{C8CD0054-0B40-49D0-0A0E-D8A7FDDC9325}"/>
          </ac:spMkLst>
        </pc:spChg>
        <pc:cxnChg chg="mod">
          <ac:chgData name="Stephanie Mattsson" userId="77fffe8b-8c64-4110-a56b-5eb7399c61b9" providerId="ADAL" clId="{77B27497-8CA6-8846-AF23-C01C91407B95}" dt="2022-05-31T07:45:23.652" v="3076" actId="14100"/>
          <ac:cxnSpMkLst>
            <pc:docMk/>
            <pc:sldMk cId="3300982436" sldId="2690"/>
            <ac:cxnSpMk id="31" creationId="{1B54AEA5-66B7-834D-AD6F-0380AB67521C}"/>
          </ac:cxnSpMkLst>
        </pc:cxnChg>
      </pc:sldChg>
      <pc:sldChg chg="addSp delSp modSp mod ord modShow modCm">
        <pc:chgData name="Stephanie Mattsson" userId="77fffe8b-8c64-4110-a56b-5eb7399c61b9" providerId="ADAL" clId="{77B27497-8CA6-8846-AF23-C01C91407B95}" dt="2022-04-14T07:49:58.179" v="2079" actId="729"/>
        <pc:sldMkLst>
          <pc:docMk/>
          <pc:sldMk cId="2133309828" sldId="2691"/>
        </pc:sldMkLst>
        <pc:spChg chg="add del">
          <ac:chgData name="Stephanie Mattsson" userId="77fffe8b-8c64-4110-a56b-5eb7399c61b9" providerId="ADAL" clId="{77B27497-8CA6-8846-AF23-C01C91407B95}" dt="2022-04-13T09:03:18.225" v="1043" actId="478"/>
          <ac:spMkLst>
            <pc:docMk/>
            <pc:sldMk cId="2133309828" sldId="2691"/>
            <ac:spMk id="4" creationId="{BB9E442C-18ED-C84A-9A1A-B046424F324B}"/>
          </ac:spMkLst>
        </pc:spChg>
        <pc:spChg chg="mod">
          <ac:chgData name="Stephanie Mattsson" userId="77fffe8b-8c64-4110-a56b-5eb7399c61b9" providerId="ADAL" clId="{77B27497-8CA6-8846-AF23-C01C91407B95}" dt="2022-04-13T09:03:07.198" v="1041" actId="790"/>
          <ac:spMkLst>
            <pc:docMk/>
            <pc:sldMk cId="2133309828" sldId="2691"/>
            <ac:spMk id="29" creationId="{E46A88B8-12EC-6644-BDBA-0013C056925F}"/>
          </ac:spMkLst>
        </pc:spChg>
      </pc:sldChg>
      <pc:sldChg chg="modSp mod ord addCm">
        <pc:chgData name="Stephanie Mattsson" userId="77fffe8b-8c64-4110-a56b-5eb7399c61b9" providerId="ADAL" clId="{77B27497-8CA6-8846-AF23-C01C91407B95}" dt="2022-04-13T14:48:31.393" v="1875"/>
        <pc:sldMkLst>
          <pc:docMk/>
          <pc:sldMk cId="3414406768" sldId="2693"/>
        </pc:sldMkLst>
        <pc:spChg chg="mod">
          <ac:chgData name="Stephanie Mattsson" userId="77fffe8b-8c64-4110-a56b-5eb7399c61b9" providerId="ADAL" clId="{77B27497-8CA6-8846-AF23-C01C91407B95}" dt="2022-04-13T14:33:16.629" v="1866" actId="20577"/>
          <ac:spMkLst>
            <pc:docMk/>
            <pc:sldMk cId="3414406768" sldId="2693"/>
            <ac:spMk id="4" creationId="{69D2A4B3-2406-7D4A-B44D-9165A0C4F601}"/>
          </ac:spMkLst>
        </pc:spChg>
        <pc:spChg chg="mod">
          <ac:chgData name="Stephanie Mattsson" userId="77fffe8b-8c64-4110-a56b-5eb7399c61b9" providerId="ADAL" clId="{77B27497-8CA6-8846-AF23-C01C91407B95}" dt="2022-04-13T14:43:54.406" v="1872" actId="14100"/>
          <ac:spMkLst>
            <pc:docMk/>
            <pc:sldMk cId="3414406768" sldId="2693"/>
            <ac:spMk id="23" creationId="{36CF2A7E-352C-3346-9A53-754874E3FD71}"/>
          </ac:spMkLst>
        </pc:spChg>
        <pc:spChg chg="mod">
          <ac:chgData name="Stephanie Mattsson" userId="77fffe8b-8c64-4110-a56b-5eb7399c61b9" providerId="ADAL" clId="{77B27497-8CA6-8846-AF23-C01C91407B95}" dt="2022-04-13T14:47:02.388" v="1874" actId="20577"/>
          <ac:spMkLst>
            <pc:docMk/>
            <pc:sldMk cId="3414406768" sldId="2693"/>
            <ac:spMk id="24" creationId="{E80FB3A9-A206-0441-B38D-FF15013FBBCA}"/>
          </ac:spMkLst>
        </pc:spChg>
      </pc:sldChg>
      <pc:sldChg chg="modSp new add mod addCm delCm modCm">
        <pc:chgData name="Stephanie Mattsson" userId="77fffe8b-8c64-4110-a56b-5eb7399c61b9" providerId="ADAL" clId="{77B27497-8CA6-8846-AF23-C01C91407B95}" dt="2022-05-31T07:48:16.484" v="3186"/>
        <pc:sldMkLst>
          <pc:docMk/>
          <pc:sldMk cId="205438254" sldId="2694"/>
        </pc:sldMkLst>
        <pc:spChg chg="mod">
          <ac:chgData name="Stephanie Mattsson" userId="77fffe8b-8c64-4110-a56b-5eb7399c61b9" providerId="ADAL" clId="{77B27497-8CA6-8846-AF23-C01C91407B95}" dt="2022-04-26T13:17:37.519" v="2817" actId="14100"/>
          <ac:spMkLst>
            <pc:docMk/>
            <pc:sldMk cId="205438254" sldId="2694"/>
            <ac:spMk id="2" creationId="{914A8A11-B278-296B-1ED1-3CB10DED3A7F}"/>
          </ac:spMkLst>
        </pc:spChg>
      </pc:sldChg>
      <pc:sldChg chg="delSp modSp add del mod">
        <pc:chgData name="Stephanie Mattsson" userId="77fffe8b-8c64-4110-a56b-5eb7399c61b9" providerId="ADAL" clId="{77B27497-8CA6-8846-AF23-C01C91407B95}" dt="2022-04-13T14:31:44.267" v="1861" actId="2696"/>
        <pc:sldMkLst>
          <pc:docMk/>
          <pc:sldMk cId="3164259002" sldId="2695"/>
        </pc:sldMkLst>
        <pc:spChg chg="mod">
          <ac:chgData name="Stephanie Mattsson" userId="77fffe8b-8c64-4110-a56b-5eb7399c61b9" providerId="ADAL" clId="{77B27497-8CA6-8846-AF23-C01C91407B95}" dt="2022-04-13T10:44:58.765" v="1172" actId="14100"/>
          <ac:spMkLst>
            <pc:docMk/>
            <pc:sldMk cId="3164259002" sldId="2695"/>
            <ac:spMk id="2" creationId="{66C3142D-3355-D644-8BD9-E5C46466561D}"/>
          </ac:spMkLst>
        </pc:spChg>
        <pc:spChg chg="del">
          <ac:chgData name="Stephanie Mattsson" userId="77fffe8b-8c64-4110-a56b-5eb7399c61b9" providerId="ADAL" clId="{77B27497-8CA6-8846-AF23-C01C91407B95}" dt="2022-04-13T10:44:45.894" v="1147" actId="478"/>
          <ac:spMkLst>
            <pc:docMk/>
            <pc:sldMk cId="3164259002" sldId="2695"/>
            <ac:spMk id="4" creationId="{BB9E442C-18ED-C84A-9A1A-B046424F324B}"/>
          </ac:spMkLst>
        </pc:spChg>
        <pc:spChg chg="mod">
          <ac:chgData name="Stephanie Mattsson" userId="77fffe8b-8c64-4110-a56b-5eb7399c61b9" providerId="ADAL" clId="{77B27497-8CA6-8846-AF23-C01C91407B95}" dt="2022-04-13T10:44:53.134" v="1171" actId="1035"/>
          <ac:spMkLst>
            <pc:docMk/>
            <pc:sldMk cId="3164259002" sldId="2695"/>
            <ac:spMk id="16" creationId="{43CA227C-960C-1347-B4C7-8AD40EDB1CF1}"/>
          </ac:spMkLst>
        </pc:spChg>
        <pc:spChg chg="mod">
          <ac:chgData name="Stephanie Mattsson" userId="77fffe8b-8c64-4110-a56b-5eb7399c61b9" providerId="ADAL" clId="{77B27497-8CA6-8846-AF23-C01C91407B95}" dt="2022-04-13T10:45:32.024" v="1211" actId="207"/>
          <ac:spMkLst>
            <pc:docMk/>
            <pc:sldMk cId="3164259002" sldId="2695"/>
            <ac:spMk id="20" creationId="{225EE515-87A3-024F-8E59-CAAE2A91B722}"/>
          </ac:spMkLst>
        </pc:spChg>
        <pc:spChg chg="mod">
          <ac:chgData name="Stephanie Mattsson" userId="77fffe8b-8c64-4110-a56b-5eb7399c61b9" providerId="ADAL" clId="{77B27497-8CA6-8846-AF23-C01C91407B95}" dt="2022-04-13T10:45:47.607" v="1216" actId="207"/>
          <ac:spMkLst>
            <pc:docMk/>
            <pc:sldMk cId="3164259002" sldId="2695"/>
            <ac:spMk id="21" creationId="{CC10F94E-50BF-0140-9967-F9E9DAE43AA6}"/>
          </ac:spMkLst>
        </pc:spChg>
        <pc:spChg chg="mod">
          <ac:chgData name="Stephanie Mattsson" userId="77fffe8b-8c64-4110-a56b-5eb7399c61b9" providerId="ADAL" clId="{77B27497-8CA6-8846-AF23-C01C91407B95}" dt="2022-04-13T10:46:08.258" v="1222" actId="207"/>
          <ac:spMkLst>
            <pc:docMk/>
            <pc:sldMk cId="3164259002" sldId="2695"/>
            <ac:spMk id="24" creationId="{F5649740-15FB-BB40-8CEB-F6B56506630B}"/>
          </ac:spMkLst>
        </pc:spChg>
        <pc:spChg chg="mod">
          <ac:chgData name="Stephanie Mattsson" userId="77fffe8b-8c64-4110-a56b-5eb7399c61b9" providerId="ADAL" clId="{77B27497-8CA6-8846-AF23-C01C91407B95}" dt="2022-04-13T10:45:38.544" v="1213" actId="207"/>
          <ac:spMkLst>
            <pc:docMk/>
            <pc:sldMk cId="3164259002" sldId="2695"/>
            <ac:spMk id="35" creationId="{71C2EF32-D181-F14D-8A38-4C9A5BAFEA32}"/>
          </ac:spMkLst>
        </pc:spChg>
        <pc:spChg chg="mod">
          <ac:chgData name="Stephanie Mattsson" userId="77fffe8b-8c64-4110-a56b-5eb7399c61b9" providerId="ADAL" clId="{77B27497-8CA6-8846-AF23-C01C91407B95}" dt="2022-04-13T10:45:50.851" v="1217" actId="207"/>
          <ac:spMkLst>
            <pc:docMk/>
            <pc:sldMk cId="3164259002" sldId="2695"/>
            <ac:spMk id="36" creationId="{ED587A22-1A24-8548-BD46-080E6554F29A}"/>
          </ac:spMkLst>
        </pc:spChg>
        <pc:spChg chg="mod">
          <ac:chgData name="Stephanie Mattsson" userId="77fffe8b-8c64-4110-a56b-5eb7399c61b9" providerId="ADAL" clId="{77B27497-8CA6-8846-AF23-C01C91407B95}" dt="2022-04-13T10:46:08.258" v="1222" actId="207"/>
          <ac:spMkLst>
            <pc:docMk/>
            <pc:sldMk cId="3164259002" sldId="2695"/>
            <ac:spMk id="37" creationId="{A5EF99E6-FAB8-2346-A343-34570B94BC29}"/>
          </ac:spMkLst>
        </pc:spChg>
        <pc:spChg chg="mod">
          <ac:chgData name="Stephanie Mattsson" userId="77fffe8b-8c64-4110-a56b-5eb7399c61b9" providerId="ADAL" clId="{77B27497-8CA6-8846-AF23-C01C91407B95}" dt="2022-04-13T10:46:58.503" v="1270" actId="207"/>
          <ac:spMkLst>
            <pc:docMk/>
            <pc:sldMk cId="3164259002" sldId="2695"/>
            <ac:spMk id="38" creationId="{C35A410D-1F7C-1F4B-95FF-6227F91325C0}"/>
          </ac:spMkLst>
        </pc:spChg>
        <pc:spChg chg="mod">
          <ac:chgData name="Stephanie Mattsson" userId="77fffe8b-8c64-4110-a56b-5eb7399c61b9" providerId="ADAL" clId="{77B27497-8CA6-8846-AF23-C01C91407B95}" dt="2022-04-13T10:46:27.505" v="1240" actId="1036"/>
          <ac:spMkLst>
            <pc:docMk/>
            <pc:sldMk cId="3164259002" sldId="2695"/>
            <ac:spMk id="40" creationId="{7B887C45-2857-0C4E-A84A-D0D479CC5E69}"/>
          </ac:spMkLst>
        </pc:spChg>
        <pc:spChg chg="mod">
          <ac:chgData name="Stephanie Mattsson" userId="77fffe8b-8c64-4110-a56b-5eb7399c61b9" providerId="ADAL" clId="{77B27497-8CA6-8846-AF23-C01C91407B95}" dt="2022-04-13T10:46:35.733" v="1256" actId="1035"/>
          <ac:spMkLst>
            <pc:docMk/>
            <pc:sldMk cId="3164259002" sldId="2695"/>
            <ac:spMk id="41" creationId="{99EC2005-29F9-3443-8533-4B7490F01FC0}"/>
          </ac:spMkLst>
        </pc:spChg>
        <pc:spChg chg="mod">
          <ac:chgData name="Stephanie Mattsson" userId="77fffe8b-8c64-4110-a56b-5eb7399c61b9" providerId="ADAL" clId="{77B27497-8CA6-8846-AF23-C01C91407B95}" dt="2022-04-13T10:46:47.171" v="1268" actId="1035"/>
          <ac:spMkLst>
            <pc:docMk/>
            <pc:sldMk cId="3164259002" sldId="2695"/>
            <ac:spMk id="42" creationId="{36F01351-C455-AE40-9CE8-2D7ADB8BE68A}"/>
          </ac:spMkLst>
        </pc:spChg>
        <pc:spChg chg="mod">
          <ac:chgData name="Stephanie Mattsson" userId="77fffe8b-8c64-4110-a56b-5eb7399c61b9" providerId="ADAL" clId="{77B27497-8CA6-8846-AF23-C01C91407B95}" dt="2022-04-13T10:46:58.503" v="1270" actId="207"/>
          <ac:spMkLst>
            <pc:docMk/>
            <pc:sldMk cId="3164259002" sldId="2695"/>
            <ac:spMk id="47" creationId="{C042DEED-CEAE-054E-A4DF-7459090495F8}"/>
          </ac:spMkLst>
        </pc:spChg>
        <pc:spChg chg="mod">
          <ac:chgData name="Stephanie Mattsson" userId="77fffe8b-8c64-4110-a56b-5eb7399c61b9" providerId="ADAL" clId="{77B27497-8CA6-8846-AF23-C01C91407B95}" dt="2022-04-13T10:46:58.503" v="1270" actId="207"/>
          <ac:spMkLst>
            <pc:docMk/>
            <pc:sldMk cId="3164259002" sldId="2695"/>
            <ac:spMk id="48" creationId="{D3CB3F30-CB4E-4C46-BC6D-DAAD04D58015}"/>
          </ac:spMkLst>
        </pc:spChg>
        <pc:spChg chg="mod">
          <ac:chgData name="Stephanie Mattsson" userId="77fffe8b-8c64-4110-a56b-5eb7399c61b9" providerId="ADAL" clId="{77B27497-8CA6-8846-AF23-C01C91407B95}" dt="2022-04-13T10:46:58.503" v="1270" actId="207"/>
          <ac:spMkLst>
            <pc:docMk/>
            <pc:sldMk cId="3164259002" sldId="2695"/>
            <ac:spMk id="55" creationId="{BA22289F-2993-6D48-A888-AD8DEE3944B2}"/>
          </ac:spMkLst>
        </pc:spChg>
        <pc:picChg chg="mod">
          <ac:chgData name="Stephanie Mattsson" userId="77fffe8b-8c64-4110-a56b-5eb7399c61b9" providerId="ADAL" clId="{77B27497-8CA6-8846-AF23-C01C91407B95}" dt="2022-04-13T10:45:35.822" v="1212" actId="692"/>
          <ac:picMkLst>
            <pc:docMk/>
            <pc:sldMk cId="3164259002" sldId="2695"/>
            <ac:picMk id="31" creationId="{654D3296-96F0-0345-8D43-F949F6D2CF27}"/>
          </ac:picMkLst>
        </pc:picChg>
        <pc:picChg chg="mod">
          <ac:chgData name="Stephanie Mattsson" userId="77fffe8b-8c64-4110-a56b-5eb7399c61b9" providerId="ADAL" clId="{77B27497-8CA6-8846-AF23-C01C91407B95}" dt="2022-04-13T10:46:02.192" v="1220" actId="692"/>
          <ac:picMkLst>
            <pc:docMk/>
            <pc:sldMk cId="3164259002" sldId="2695"/>
            <ac:picMk id="32" creationId="{9751D2EE-C26D-B64C-B387-0906ED556194}"/>
          </ac:picMkLst>
        </pc:picChg>
        <pc:picChg chg="mod">
          <ac:chgData name="Stephanie Mattsson" userId="77fffe8b-8c64-4110-a56b-5eb7399c61b9" providerId="ADAL" clId="{77B27497-8CA6-8846-AF23-C01C91407B95}" dt="2022-04-13T10:44:53.134" v="1171" actId="1035"/>
          <ac:picMkLst>
            <pc:docMk/>
            <pc:sldMk cId="3164259002" sldId="2695"/>
            <ac:picMk id="33" creationId="{ECD11009-272E-9C43-9905-F5BDE19C1D40}"/>
          </ac:picMkLst>
        </pc:picChg>
        <pc:picChg chg="mod">
          <ac:chgData name="Stephanie Mattsson" userId="77fffe8b-8c64-4110-a56b-5eb7399c61b9" providerId="ADAL" clId="{77B27497-8CA6-8846-AF23-C01C91407B95}" dt="2022-04-13T10:45:54.670" v="1218" actId="692"/>
          <ac:picMkLst>
            <pc:docMk/>
            <pc:sldMk cId="3164259002" sldId="2695"/>
            <ac:picMk id="34" creationId="{F9B41FD0-FE65-5848-9385-CC70CEC526CB}"/>
          </ac:picMkLst>
        </pc:picChg>
        <pc:picChg chg="mod">
          <ac:chgData name="Stephanie Mattsson" userId="77fffe8b-8c64-4110-a56b-5eb7399c61b9" providerId="ADAL" clId="{77B27497-8CA6-8846-AF23-C01C91407B95}" dt="2022-04-13T10:46:35.733" v="1256" actId="1035"/>
          <ac:picMkLst>
            <pc:docMk/>
            <pc:sldMk cId="3164259002" sldId="2695"/>
            <ac:picMk id="50" creationId="{7DD1233B-48BF-4C4F-BC68-A2579EB1EE09}"/>
          </ac:picMkLst>
        </pc:picChg>
        <pc:picChg chg="mod">
          <ac:chgData name="Stephanie Mattsson" userId="77fffe8b-8c64-4110-a56b-5eb7399c61b9" providerId="ADAL" clId="{77B27497-8CA6-8846-AF23-C01C91407B95}" dt="2022-04-13T10:46:27.505" v="1240" actId="1036"/>
          <ac:picMkLst>
            <pc:docMk/>
            <pc:sldMk cId="3164259002" sldId="2695"/>
            <ac:picMk id="51" creationId="{25F9A94F-9E6F-D143-BB73-99277AFB6AA6}"/>
          </ac:picMkLst>
        </pc:picChg>
        <pc:picChg chg="mod">
          <ac:chgData name="Stephanie Mattsson" userId="77fffe8b-8c64-4110-a56b-5eb7399c61b9" providerId="ADAL" clId="{77B27497-8CA6-8846-AF23-C01C91407B95}" dt="2022-04-13T10:46:47.171" v="1268" actId="1035"/>
          <ac:picMkLst>
            <pc:docMk/>
            <pc:sldMk cId="3164259002" sldId="2695"/>
            <ac:picMk id="52" creationId="{C126C71D-031A-4E4C-A0ED-50608D4E3573}"/>
          </ac:picMkLst>
        </pc:picChg>
      </pc:sldChg>
      <pc:sldChg chg="delSp modSp add del mod">
        <pc:chgData name="Stephanie Mattsson" userId="77fffe8b-8c64-4110-a56b-5eb7399c61b9" providerId="ADAL" clId="{77B27497-8CA6-8846-AF23-C01C91407B95}" dt="2022-04-13T10:44:15.369" v="1140" actId="2696"/>
        <pc:sldMkLst>
          <pc:docMk/>
          <pc:sldMk cId="4096016554" sldId="2695"/>
        </pc:sldMkLst>
        <pc:spChg chg="mod">
          <ac:chgData name="Stephanie Mattsson" userId="77fffe8b-8c64-4110-a56b-5eb7399c61b9" providerId="ADAL" clId="{77B27497-8CA6-8846-AF23-C01C91407B95}" dt="2022-04-13T10:44:11.633" v="1138" actId="14100"/>
          <ac:spMkLst>
            <pc:docMk/>
            <pc:sldMk cId="4096016554" sldId="2695"/>
            <ac:spMk id="2" creationId="{66C3142D-3355-D644-8BD9-E5C46466561D}"/>
          </ac:spMkLst>
        </pc:spChg>
        <pc:spChg chg="del">
          <ac:chgData name="Stephanie Mattsson" userId="77fffe8b-8c64-4110-a56b-5eb7399c61b9" providerId="ADAL" clId="{77B27497-8CA6-8846-AF23-C01C91407B95}" dt="2022-04-13T10:40:37.440" v="1045" actId="478"/>
          <ac:spMkLst>
            <pc:docMk/>
            <pc:sldMk cId="4096016554" sldId="2695"/>
            <ac:spMk id="4" creationId="{BB9E442C-18ED-C84A-9A1A-B046424F324B}"/>
          </ac:spMkLst>
        </pc:spChg>
        <pc:spChg chg="mod">
          <ac:chgData name="Stephanie Mattsson" userId="77fffe8b-8c64-4110-a56b-5eb7399c61b9" providerId="ADAL" clId="{77B27497-8CA6-8846-AF23-C01C91407B95}" dt="2022-04-13T10:41:16.580" v="1088" actId="207"/>
          <ac:spMkLst>
            <pc:docMk/>
            <pc:sldMk cId="4096016554" sldId="2695"/>
            <ac:spMk id="16" creationId="{43CA227C-960C-1347-B4C7-8AD40EDB1CF1}"/>
          </ac:spMkLst>
        </pc:spChg>
        <pc:spChg chg="mod">
          <ac:chgData name="Stephanie Mattsson" userId="77fffe8b-8c64-4110-a56b-5eb7399c61b9" providerId="ADAL" clId="{77B27497-8CA6-8846-AF23-C01C91407B95}" dt="2022-04-13T10:40:53.881" v="1079" actId="1035"/>
          <ac:spMkLst>
            <pc:docMk/>
            <pc:sldMk cId="4096016554" sldId="2695"/>
            <ac:spMk id="20" creationId="{225EE515-87A3-024F-8E59-CAAE2A91B722}"/>
          </ac:spMkLst>
        </pc:spChg>
        <pc:spChg chg="mod">
          <ac:chgData name="Stephanie Mattsson" userId="77fffe8b-8c64-4110-a56b-5eb7399c61b9" providerId="ADAL" clId="{77B27497-8CA6-8846-AF23-C01C91407B95}" dt="2022-04-13T10:40:58.864" v="1087" actId="1035"/>
          <ac:spMkLst>
            <pc:docMk/>
            <pc:sldMk cId="4096016554" sldId="2695"/>
            <ac:spMk id="21" creationId="{CC10F94E-50BF-0140-9967-F9E9DAE43AA6}"/>
          </ac:spMkLst>
        </pc:spChg>
        <pc:spChg chg="mod">
          <ac:chgData name="Stephanie Mattsson" userId="77fffe8b-8c64-4110-a56b-5eb7399c61b9" providerId="ADAL" clId="{77B27497-8CA6-8846-AF23-C01C91407B95}" dt="2022-04-13T10:40:53.881" v="1079" actId="1035"/>
          <ac:spMkLst>
            <pc:docMk/>
            <pc:sldMk cId="4096016554" sldId="2695"/>
            <ac:spMk id="35" creationId="{71C2EF32-D181-F14D-8A38-4C9A5BAFEA32}"/>
          </ac:spMkLst>
        </pc:spChg>
        <pc:spChg chg="mod">
          <ac:chgData name="Stephanie Mattsson" userId="77fffe8b-8c64-4110-a56b-5eb7399c61b9" providerId="ADAL" clId="{77B27497-8CA6-8846-AF23-C01C91407B95}" dt="2022-04-13T10:40:58.864" v="1087" actId="1035"/>
          <ac:spMkLst>
            <pc:docMk/>
            <pc:sldMk cId="4096016554" sldId="2695"/>
            <ac:spMk id="36" creationId="{ED587A22-1A24-8548-BD46-080E6554F29A}"/>
          </ac:spMkLst>
        </pc:spChg>
        <pc:spChg chg="mod">
          <ac:chgData name="Stephanie Mattsson" userId="77fffe8b-8c64-4110-a56b-5eb7399c61b9" providerId="ADAL" clId="{77B27497-8CA6-8846-AF23-C01C91407B95}" dt="2022-04-13T10:43:57.938" v="1135" actId="1035"/>
          <ac:spMkLst>
            <pc:docMk/>
            <pc:sldMk cId="4096016554" sldId="2695"/>
            <ac:spMk id="40" creationId="{7B887C45-2857-0C4E-A84A-D0D479CC5E69}"/>
          </ac:spMkLst>
        </pc:spChg>
        <pc:spChg chg="mod">
          <ac:chgData name="Stephanie Mattsson" userId="77fffe8b-8c64-4110-a56b-5eb7399c61b9" providerId="ADAL" clId="{77B27497-8CA6-8846-AF23-C01C91407B95}" dt="2022-04-13T10:44:12.170" v="1139" actId="14100"/>
          <ac:spMkLst>
            <pc:docMk/>
            <pc:sldMk cId="4096016554" sldId="2695"/>
            <ac:spMk id="47" creationId="{C042DEED-CEAE-054E-A4DF-7459090495F8}"/>
          </ac:spMkLst>
        </pc:spChg>
        <pc:picChg chg="mod">
          <ac:chgData name="Stephanie Mattsson" userId="77fffe8b-8c64-4110-a56b-5eb7399c61b9" providerId="ADAL" clId="{77B27497-8CA6-8846-AF23-C01C91407B95}" dt="2022-04-13T10:40:53.881" v="1079" actId="1035"/>
          <ac:picMkLst>
            <pc:docMk/>
            <pc:sldMk cId="4096016554" sldId="2695"/>
            <ac:picMk id="31" creationId="{654D3296-96F0-0345-8D43-F949F6D2CF27}"/>
          </ac:picMkLst>
        </pc:picChg>
        <pc:picChg chg="mod">
          <ac:chgData name="Stephanie Mattsson" userId="77fffe8b-8c64-4110-a56b-5eb7399c61b9" providerId="ADAL" clId="{77B27497-8CA6-8846-AF23-C01C91407B95}" dt="2022-04-13T10:41:27.596" v="1089" actId="692"/>
          <ac:picMkLst>
            <pc:docMk/>
            <pc:sldMk cId="4096016554" sldId="2695"/>
            <ac:picMk id="33" creationId="{ECD11009-272E-9C43-9905-F5BDE19C1D40}"/>
          </ac:picMkLst>
        </pc:picChg>
        <pc:picChg chg="mod">
          <ac:chgData name="Stephanie Mattsson" userId="77fffe8b-8c64-4110-a56b-5eb7399c61b9" providerId="ADAL" clId="{77B27497-8CA6-8846-AF23-C01C91407B95}" dt="2022-04-13T10:40:58.864" v="1087" actId="1035"/>
          <ac:picMkLst>
            <pc:docMk/>
            <pc:sldMk cId="4096016554" sldId="2695"/>
            <ac:picMk id="34" creationId="{F9B41FD0-FE65-5848-9385-CC70CEC526CB}"/>
          </ac:picMkLst>
        </pc:picChg>
        <pc:picChg chg="mod">
          <ac:chgData name="Stephanie Mattsson" userId="77fffe8b-8c64-4110-a56b-5eb7399c61b9" providerId="ADAL" clId="{77B27497-8CA6-8846-AF23-C01C91407B95}" dt="2022-04-13T10:43:57.938" v="1135" actId="1035"/>
          <ac:picMkLst>
            <pc:docMk/>
            <pc:sldMk cId="4096016554" sldId="2695"/>
            <ac:picMk id="51" creationId="{25F9A94F-9E6F-D143-BB73-99277AFB6AA6}"/>
          </ac:picMkLst>
        </pc:picChg>
      </pc:sldChg>
      <pc:sldChg chg="delSp modSp add del mod">
        <pc:chgData name="Stephanie Mattsson" userId="77fffe8b-8c64-4110-a56b-5eb7399c61b9" providerId="ADAL" clId="{77B27497-8CA6-8846-AF23-C01C91407B95}" dt="2022-04-13T14:31:44.267" v="1861" actId="2696"/>
        <pc:sldMkLst>
          <pc:docMk/>
          <pc:sldMk cId="2119111042" sldId="2696"/>
        </pc:sldMkLst>
        <pc:spChg chg="mod">
          <ac:chgData name="Stephanie Mattsson" userId="77fffe8b-8c64-4110-a56b-5eb7399c61b9" providerId="ADAL" clId="{77B27497-8CA6-8846-AF23-C01C91407B95}" dt="2022-04-13T10:53:21.624" v="1316" actId="1076"/>
          <ac:spMkLst>
            <pc:docMk/>
            <pc:sldMk cId="2119111042" sldId="2696"/>
            <ac:spMk id="2" creationId="{66C3142D-3355-D644-8BD9-E5C46466561D}"/>
          </ac:spMkLst>
        </pc:spChg>
        <pc:spChg chg="del">
          <ac:chgData name="Stephanie Mattsson" userId="77fffe8b-8c64-4110-a56b-5eb7399c61b9" providerId="ADAL" clId="{77B27497-8CA6-8846-AF23-C01C91407B95}" dt="2022-04-13T10:49:05.709" v="1273" actId="478"/>
          <ac:spMkLst>
            <pc:docMk/>
            <pc:sldMk cId="2119111042" sldId="2696"/>
            <ac:spMk id="16" creationId="{43CA227C-960C-1347-B4C7-8AD40EDB1CF1}"/>
          </ac:spMkLst>
        </pc:spChg>
        <pc:spChg chg="mod">
          <ac:chgData name="Stephanie Mattsson" userId="77fffe8b-8c64-4110-a56b-5eb7399c61b9" providerId="ADAL" clId="{77B27497-8CA6-8846-AF23-C01C91407B95}" dt="2022-04-13T10:53:49.594" v="1330" actId="1035"/>
          <ac:spMkLst>
            <pc:docMk/>
            <pc:sldMk cId="2119111042" sldId="2696"/>
            <ac:spMk id="20" creationId="{225EE515-87A3-024F-8E59-CAAE2A91B722}"/>
          </ac:spMkLst>
        </pc:spChg>
        <pc:spChg chg="del">
          <ac:chgData name="Stephanie Mattsson" userId="77fffe8b-8c64-4110-a56b-5eb7399c61b9" providerId="ADAL" clId="{77B27497-8CA6-8846-AF23-C01C91407B95}" dt="2022-04-13T10:51:02.072" v="1296" actId="478"/>
          <ac:spMkLst>
            <pc:docMk/>
            <pc:sldMk cId="2119111042" sldId="2696"/>
            <ac:spMk id="21" creationId="{CC10F94E-50BF-0140-9967-F9E9DAE43AA6}"/>
          </ac:spMkLst>
        </pc:spChg>
        <pc:spChg chg="mod">
          <ac:chgData name="Stephanie Mattsson" userId="77fffe8b-8c64-4110-a56b-5eb7399c61b9" providerId="ADAL" clId="{77B27497-8CA6-8846-AF23-C01C91407B95}" dt="2022-04-13T10:54:09.667" v="1341" actId="1036"/>
          <ac:spMkLst>
            <pc:docMk/>
            <pc:sldMk cId="2119111042" sldId="2696"/>
            <ac:spMk id="24" creationId="{F5649740-15FB-BB40-8CEB-F6B56506630B}"/>
          </ac:spMkLst>
        </pc:spChg>
        <pc:spChg chg="mod">
          <ac:chgData name="Stephanie Mattsson" userId="77fffe8b-8c64-4110-a56b-5eb7399c61b9" providerId="ADAL" clId="{77B27497-8CA6-8846-AF23-C01C91407B95}" dt="2022-04-13T10:56:43.766" v="1374" actId="20577"/>
          <ac:spMkLst>
            <pc:docMk/>
            <pc:sldMk cId="2119111042" sldId="2696"/>
            <ac:spMk id="29" creationId="{E46A88B8-12EC-6644-BDBA-0013C056925F}"/>
          </ac:spMkLst>
        </pc:spChg>
        <pc:spChg chg="mod">
          <ac:chgData name="Stephanie Mattsson" userId="77fffe8b-8c64-4110-a56b-5eb7399c61b9" providerId="ADAL" clId="{77B27497-8CA6-8846-AF23-C01C91407B95}" dt="2022-04-13T10:53:49.594" v="1330" actId="1035"/>
          <ac:spMkLst>
            <pc:docMk/>
            <pc:sldMk cId="2119111042" sldId="2696"/>
            <ac:spMk id="35" creationId="{71C2EF32-D181-F14D-8A38-4C9A5BAFEA32}"/>
          </ac:spMkLst>
        </pc:spChg>
        <pc:spChg chg="mod">
          <ac:chgData name="Stephanie Mattsson" userId="77fffe8b-8c64-4110-a56b-5eb7399c61b9" providerId="ADAL" clId="{77B27497-8CA6-8846-AF23-C01C91407B95}" dt="2022-04-13T10:53:26.684" v="1317" actId="1038"/>
          <ac:spMkLst>
            <pc:docMk/>
            <pc:sldMk cId="2119111042" sldId="2696"/>
            <ac:spMk id="36" creationId="{ED587A22-1A24-8548-BD46-080E6554F29A}"/>
          </ac:spMkLst>
        </pc:spChg>
        <pc:spChg chg="mod">
          <ac:chgData name="Stephanie Mattsson" userId="77fffe8b-8c64-4110-a56b-5eb7399c61b9" providerId="ADAL" clId="{77B27497-8CA6-8846-AF23-C01C91407B95}" dt="2022-04-13T10:54:09.667" v="1341" actId="1036"/>
          <ac:spMkLst>
            <pc:docMk/>
            <pc:sldMk cId="2119111042" sldId="2696"/>
            <ac:spMk id="37" creationId="{A5EF99E6-FAB8-2346-A343-34570B94BC29}"/>
          </ac:spMkLst>
        </pc:spChg>
        <pc:spChg chg="mod">
          <ac:chgData name="Stephanie Mattsson" userId="77fffe8b-8c64-4110-a56b-5eb7399c61b9" providerId="ADAL" clId="{77B27497-8CA6-8846-AF23-C01C91407B95}" dt="2022-04-13T10:55:52.707" v="1357" actId="14100"/>
          <ac:spMkLst>
            <pc:docMk/>
            <pc:sldMk cId="2119111042" sldId="2696"/>
            <ac:spMk id="38" creationId="{C35A410D-1F7C-1F4B-95FF-6227F91325C0}"/>
          </ac:spMkLst>
        </pc:spChg>
        <pc:spChg chg="mod">
          <ac:chgData name="Stephanie Mattsson" userId="77fffe8b-8c64-4110-a56b-5eb7399c61b9" providerId="ADAL" clId="{77B27497-8CA6-8846-AF23-C01C91407B95}" dt="2022-04-13T10:54:41.883" v="1346" actId="207"/>
          <ac:spMkLst>
            <pc:docMk/>
            <pc:sldMk cId="2119111042" sldId="2696"/>
            <ac:spMk id="40" creationId="{7B887C45-2857-0C4E-A84A-D0D479CC5E69}"/>
          </ac:spMkLst>
        </pc:spChg>
        <pc:spChg chg="mod">
          <ac:chgData name="Stephanie Mattsson" userId="77fffe8b-8c64-4110-a56b-5eb7399c61b9" providerId="ADAL" clId="{77B27497-8CA6-8846-AF23-C01C91407B95}" dt="2022-04-13T10:55:16.600" v="1352" actId="1076"/>
          <ac:spMkLst>
            <pc:docMk/>
            <pc:sldMk cId="2119111042" sldId="2696"/>
            <ac:spMk id="41" creationId="{99EC2005-29F9-3443-8533-4B7490F01FC0}"/>
          </ac:spMkLst>
        </pc:spChg>
        <pc:spChg chg="del">
          <ac:chgData name="Stephanie Mattsson" userId="77fffe8b-8c64-4110-a56b-5eb7399c61b9" providerId="ADAL" clId="{77B27497-8CA6-8846-AF23-C01C91407B95}" dt="2022-04-13T10:50:08.745" v="1284" actId="478"/>
          <ac:spMkLst>
            <pc:docMk/>
            <pc:sldMk cId="2119111042" sldId="2696"/>
            <ac:spMk id="42" creationId="{36F01351-C455-AE40-9CE8-2D7ADB8BE68A}"/>
          </ac:spMkLst>
        </pc:spChg>
        <pc:spChg chg="mod">
          <ac:chgData name="Stephanie Mattsson" userId="77fffe8b-8c64-4110-a56b-5eb7399c61b9" providerId="ADAL" clId="{77B27497-8CA6-8846-AF23-C01C91407B95}" dt="2022-04-13T10:54:52.743" v="1348" actId="207"/>
          <ac:spMkLst>
            <pc:docMk/>
            <pc:sldMk cId="2119111042" sldId="2696"/>
            <ac:spMk id="47" creationId="{C042DEED-CEAE-054E-A4DF-7459090495F8}"/>
          </ac:spMkLst>
        </pc:spChg>
        <pc:spChg chg="mod">
          <ac:chgData name="Stephanie Mattsson" userId="77fffe8b-8c64-4110-a56b-5eb7399c61b9" providerId="ADAL" clId="{77B27497-8CA6-8846-AF23-C01C91407B95}" dt="2022-04-13T10:55:45.650" v="1356" actId="1076"/>
          <ac:spMkLst>
            <pc:docMk/>
            <pc:sldMk cId="2119111042" sldId="2696"/>
            <ac:spMk id="48" creationId="{D3CB3F30-CB4E-4C46-BC6D-DAAD04D58015}"/>
          </ac:spMkLst>
        </pc:spChg>
        <pc:spChg chg="del">
          <ac:chgData name="Stephanie Mattsson" userId="77fffe8b-8c64-4110-a56b-5eb7399c61b9" providerId="ADAL" clId="{77B27497-8CA6-8846-AF23-C01C91407B95}" dt="2022-04-13T10:50:13.990" v="1286" actId="478"/>
          <ac:spMkLst>
            <pc:docMk/>
            <pc:sldMk cId="2119111042" sldId="2696"/>
            <ac:spMk id="55" creationId="{BA22289F-2993-6D48-A888-AD8DEE3944B2}"/>
          </ac:spMkLst>
        </pc:spChg>
        <pc:spChg chg="del">
          <ac:chgData name="Stephanie Mattsson" userId="77fffe8b-8c64-4110-a56b-5eb7399c61b9" providerId="ADAL" clId="{77B27497-8CA6-8846-AF23-C01C91407B95}" dt="2022-04-13T10:50:12.608" v="1285" actId="478"/>
          <ac:spMkLst>
            <pc:docMk/>
            <pc:sldMk cId="2119111042" sldId="2696"/>
            <ac:spMk id="56" creationId="{00CEC122-C2A1-8440-AFF2-86773C03198E}"/>
          </ac:spMkLst>
        </pc:spChg>
        <pc:picChg chg="mod">
          <ac:chgData name="Stephanie Mattsson" userId="77fffe8b-8c64-4110-a56b-5eb7399c61b9" providerId="ADAL" clId="{77B27497-8CA6-8846-AF23-C01C91407B95}" dt="2022-04-13T10:53:49.594" v="1330" actId="1035"/>
          <ac:picMkLst>
            <pc:docMk/>
            <pc:sldMk cId="2119111042" sldId="2696"/>
            <ac:picMk id="31" creationId="{654D3296-96F0-0345-8D43-F949F6D2CF27}"/>
          </ac:picMkLst>
        </pc:picChg>
        <pc:picChg chg="mod">
          <ac:chgData name="Stephanie Mattsson" userId="77fffe8b-8c64-4110-a56b-5eb7399c61b9" providerId="ADAL" clId="{77B27497-8CA6-8846-AF23-C01C91407B95}" dt="2022-04-13T10:54:09.667" v="1341" actId="1036"/>
          <ac:picMkLst>
            <pc:docMk/>
            <pc:sldMk cId="2119111042" sldId="2696"/>
            <ac:picMk id="32" creationId="{9751D2EE-C26D-B64C-B387-0906ED556194}"/>
          </ac:picMkLst>
        </pc:picChg>
        <pc:picChg chg="mod">
          <ac:chgData name="Stephanie Mattsson" userId="77fffe8b-8c64-4110-a56b-5eb7399c61b9" providerId="ADAL" clId="{77B27497-8CA6-8846-AF23-C01C91407B95}" dt="2022-04-13T10:53:07.488" v="1313" actId="1036"/>
          <ac:picMkLst>
            <pc:docMk/>
            <pc:sldMk cId="2119111042" sldId="2696"/>
            <ac:picMk id="33" creationId="{ECD11009-272E-9C43-9905-F5BDE19C1D40}"/>
          </ac:picMkLst>
        </pc:picChg>
        <pc:picChg chg="mod">
          <ac:chgData name="Stephanie Mattsson" userId="77fffe8b-8c64-4110-a56b-5eb7399c61b9" providerId="ADAL" clId="{77B27497-8CA6-8846-AF23-C01C91407B95}" dt="2022-04-13T10:53:10.895" v="1315" actId="1035"/>
          <ac:picMkLst>
            <pc:docMk/>
            <pc:sldMk cId="2119111042" sldId="2696"/>
            <ac:picMk id="34" creationId="{F9B41FD0-FE65-5848-9385-CC70CEC526CB}"/>
          </ac:picMkLst>
        </pc:picChg>
        <pc:picChg chg="mod">
          <ac:chgData name="Stephanie Mattsson" userId="77fffe8b-8c64-4110-a56b-5eb7399c61b9" providerId="ADAL" clId="{77B27497-8CA6-8846-AF23-C01C91407B95}" dt="2022-04-13T10:55:16.600" v="1352" actId="1076"/>
          <ac:picMkLst>
            <pc:docMk/>
            <pc:sldMk cId="2119111042" sldId="2696"/>
            <ac:picMk id="50" creationId="{7DD1233B-48BF-4C4F-BC68-A2579EB1EE09}"/>
          </ac:picMkLst>
        </pc:picChg>
        <pc:picChg chg="mod">
          <ac:chgData name="Stephanie Mattsson" userId="77fffe8b-8c64-4110-a56b-5eb7399c61b9" providerId="ADAL" clId="{77B27497-8CA6-8846-AF23-C01C91407B95}" dt="2022-04-13T10:54:46.954" v="1347" actId="692"/>
          <ac:picMkLst>
            <pc:docMk/>
            <pc:sldMk cId="2119111042" sldId="2696"/>
            <ac:picMk id="51" creationId="{25F9A94F-9E6F-D143-BB73-99277AFB6AA6}"/>
          </ac:picMkLst>
        </pc:picChg>
        <pc:picChg chg="mod">
          <ac:chgData name="Stephanie Mattsson" userId="77fffe8b-8c64-4110-a56b-5eb7399c61b9" providerId="ADAL" clId="{77B27497-8CA6-8846-AF23-C01C91407B95}" dt="2022-04-13T10:55:38.876" v="1355" actId="1076"/>
          <ac:picMkLst>
            <pc:docMk/>
            <pc:sldMk cId="2119111042" sldId="2696"/>
            <ac:picMk id="52" creationId="{C126C71D-031A-4E4C-A0ED-50608D4E3573}"/>
          </ac:picMkLst>
        </pc:picChg>
      </pc:sldChg>
      <pc:sldChg chg="addSp delSp modSp add del mod">
        <pc:chgData name="Stephanie Mattsson" userId="77fffe8b-8c64-4110-a56b-5eb7399c61b9" providerId="ADAL" clId="{77B27497-8CA6-8846-AF23-C01C91407B95}" dt="2022-04-13T14:31:44.267" v="1861" actId="2696"/>
        <pc:sldMkLst>
          <pc:docMk/>
          <pc:sldMk cId="2451173157" sldId="2697"/>
        </pc:sldMkLst>
        <pc:spChg chg="mod">
          <ac:chgData name="Stephanie Mattsson" userId="77fffe8b-8c64-4110-a56b-5eb7399c61b9" providerId="ADAL" clId="{77B27497-8CA6-8846-AF23-C01C91407B95}" dt="2022-04-13T11:00:29.408" v="1515" actId="1036"/>
          <ac:spMkLst>
            <pc:docMk/>
            <pc:sldMk cId="2451173157" sldId="2697"/>
            <ac:spMk id="2" creationId="{66C3142D-3355-D644-8BD9-E5C46466561D}"/>
          </ac:spMkLst>
        </pc:spChg>
        <pc:spChg chg="add del mod">
          <ac:chgData name="Stephanie Mattsson" userId="77fffe8b-8c64-4110-a56b-5eb7399c61b9" providerId="ADAL" clId="{77B27497-8CA6-8846-AF23-C01C91407B95}" dt="2022-04-13T11:01:34.769" v="1580" actId="478"/>
          <ac:spMkLst>
            <pc:docMk/>
            <pc:sldMk cId="2451173157" sldId="2697"/>
            <ac:spMk id="3" creationId="{D6301982-385A-DF12-811B-F3501CA0AF00}"/>
          </ac:spMkLst>
        </pc:spChg>
        <pc:spChg chg="del">
          <ac:chgData name="Stephanie Mattsson" userId="77fffe8b-8c64-4110-a56b-5eb7399c61b9" providerId="ADAL" clId="{77B27497-8CA6-8846-AF23-C01C91407B95}" dt="2022-04-13T10:57:01.520" v="1376" actId="478"/>
          <ac:spMkLst>
            <pc:docMk/>
            <pc:sldMk cId="2451173157" sldId="2697"/>
            <ac:spMk id="20" creationId="{225EE515-87A3-024F-8E59-CAAE2A91B722}"/>
          </ac:spMkLst>
        </pc:spChg>
        <pc:spChg chg="add mod">
          <ac:chgData name="Stephanie Mattsson" userId="77fffe8b-8c64-4110-a56b-5eb7399c61b9" providerId="ADAL" clId="{77B27497-8CA6-8846-AF23-C01C91407B95}" dt="2022-04-13T11:02:41.064" v="1615" actId="120"/>
          <ac:spMkLst>
            <pc:docMk/>
            <pc:sldMk cId="2451173157" sldId="2697"/>
            <ac:spMk id="23" creationId="{A9B9300C-3650-91B3-D6B1-AA31EB2A9DD3}"/>
          </ac:spMkLst>
        </pc:spChg>
        <pc:spChg chg="del">
          <ac:chgData name="Stephanie Mattsson" userId="77fffe8b-8c64-4110-a56b-5eb7399c61b9" providerId="ADAL" clId="{77B27497-8CA6-8846-AF23-C01C91407B95}" dt="2022-04-13T10:57:26.924" v="1380" actId="478"/>
          <ac:spMkLst>
            <pc:docMk/>
            <pc:sldMk cId="2451173157" sldId="2697"/>
            <ac:spMk id="24" creationId="{F5649740-15FB-BB40-8CEB-F6B56506630B}"/>
          </ac:spMkLst>
        </pc:spChg>
        <pc:spChg chg="mod">
          <ac:chgData name="Stephanie Mattsson" userId="77fffe8b-8c64-4110-a56b-5eb7399c61b9" providerId="ADAL" clId="{77B27497-8CA6-8846-AF23-C01C91407B95}" dt="2022-04-13T11:01:03.960" v="1573" actId="20577"/>
          <ac:spMkLst>
            <pc:docMk/>
            <pc:sldMk cId="2451173157" sldId="2697"/>
            <ac:spMk id="29" creationId="{E46A88B8-12EC-6644-BDBA-0013C056925F}"/>
          </ac:spMkLst>
        </pc:spChg>
        <pc:spChg chg="mod">
          <ac:chgData name="Stephanie Mattsson" userId="77fffe8b-8c64-4110-a56b-5eb7399c61b9" providerId="ADAL" clId="{77B27497-8CA6-8846-AF23-C01C91407B95}" dt="2022-04-13T14:26:08.019" v="1632" actId="14100"/>
          <ac:spMkLst>
            <pc:docMk/>
            <pc:sldMk cId="2451173157" sldId="2697"/>
            <ac:spMk id="35" creationId="{71C2EF32-D181-F14D-8A38-4C9A5BAFEA32}"/>
          </ac:spMkLst>
        </pc:spChg>
        <pc:spChg chg="mod">
          <ac:chgData name="Stephanie Mattsson" userId="77fffe8b-8c64-4110-a56b-5eb7399c61b9" providerId="ADAL" clId="{77B27497-8CA6-8846-AF23-C01C91407B95}" dt="2022-04-13T11:00:29.408" v="1515" actId="1036"/>
          <ac:spMkLst>
            <pc:docMk/>
            <pc:sldMk cId="2451173157" sldId="2697"/>
            <ac:spMk id="36" creationId="{ED587A22-1A24-8548-BD46-080E6554F29A}"/>
          </ac:spMkLst>
        </pc:spChg>
        <pc:spChg chg="mod">
          <ac:chgData name="Stephanie Mattsson" userId="77fffe8b-8c64-4110-a56b-5eb7399c61b9" providerId="ADAL" clId="{77B27497-8CA6-8846-AF23-C01C91407B95}" dt="2022-04-13T14:26:11.568" v="1633" actId="14100"/>
          <ac:spMkLst>
            <pc:docMk/>
            <pc:sldMk cId="2451173157" sldId="2697"/>
            <ac:spMk id="37" creationId="{A5EF99E6-FAB8-2346-A343-34570B94BC29}"/>
          </ac:spMkLst>
        </pc:spChg>
        <pc:spChg chg="mod">
          <ac:chgData name="Stephanie Mattsson" userId="77fffe8b-8c64-4110-a56b-5eb7399c61b9" providerId="ADAL" clId="{77B27497-8CA6-8846-AF23-C01C91407B95}" dt="2022-04-13T14:27:05.563" v="1640" actId="1076"/>
          <ac:spMkLst>
            <pc:docMk/>
            <pc:sldMk cId="2451173157" sldId="2697"/>
            <ac:spMk id="38" creationId="{C35A410D-1F7C-1F4B-95FF-6227F91325C0}"/>
          </ac:spMkLst>
        </pc:spChg>
        <pc:spChg chg="del">
          <ac:chgData name="Stephanie Mattsson" userId="77fffe8b-8c64-4110-a56b-5eb7399c61b9" providerId="ADAL" clId="{77B27497-8CA6-8846-AF23-C01C91407B95}" dt="2022-04-13T10:57:44.404" v="1383" actId="478"/>
          <ac:spMkLst>
            <pc:docMk/>
            <pc:sldMk cId="2451173157" sldId="2697"/>
            <ac:spMk id="40" creationId="{7B887C45-2857-0C4E-A84A-D0D479CC5E69}"/>
          </ac:spMkLst>
        </pc:spChg>
        <pc:spChg chg="del">
          <ac:chgData name="Stephanie Mattsson" userId="77fffe8b-8c64-4110-a56b-5eb7399c61b9" providerId="ADAL" clId="{77B27497-8CA6-8846-AF23-C01C91407B95}" dt="2022-04-13T10:57:49.427" v="1386" actId="478"/>
          <ac:spMkLst>
            <pc:docMk/>
            <pc:sldMk cId="2451173157" sldId="2697"/>
            <ac:spMk id="41" creationId="{99EC2005-29F9-3443-8533-4B7490F01FC0}"/>
          </ac:spMkLst>
        </pc:spChg>
        <pc:spChg chg="mod">
          <ac:chgData name="Stephanie Mattsson" userId="77fffe8b-8c64-4110-a56b-5eb7399c61b9" providerId="ADAL" clId="{77B27497-8CA6-8846-AF23-C01C91407B95}" dt="2022-04-13T14:26:41.838" v="1637" actId="14100"/>
          <ac:spMkLst>
            <pc:docMk/>
            <pc:sldMk cId="2451173157" sldId="2697"/>
            <ac:spMk id="47" creationId="{C042DEED-CEAE-054E-A4DF-7459090495F8}"/>
          </ac:spMkLst>
        </pc:spChg>
        <pc:spChg chg="mod">
          <ac:chgData name="Stephanie Mattsson" userId="77fffe8b-8c64-4110-a56b-5eb7399c61b9" providerId="ADAL" clId="{77B27497-8CA6-8846-AF23-C01C91407B95}" dt="2022-04-13T11:00:29.408" v="1515" actId="1036"/>
          <ac:spMkLst>
            <pc:docMk/>
            <pc:sldMk cId="2451173157" sldId="2697"/>
            <ac:spMk id="48" creationId="{D3CB3F30-CB4E-4C46-BC6D-DAAD04D58015}"/>
          </ac:spMkLst>
        </pc:spChg>
        <pc:picChg chg="add del mod">
          <ac:chgData name="Stephanie Mattsson" userId="77fffe8b-8c64-4110-a56b-5eb7399c61b9" providerId="ADAL" clId="{77B27497-8CA6-8846-AF23-C01C91407B95}" dt="2022-04-13T10:58:27.720" v="1397" actId="478"/>
          <ac:picMkLst>
            <pc:docMk/>
            <pc:sldMk cId="2451173157" sldId="2697"/>
            <ac:picMk id="21" creationId="{B3A4C9F0-A5AA-F3DF-67E4-BC89443CEF2E}"/>
          </ac:picMkLst>
        </pc:picChg>
        <pc:picChg chg="add mod">
          <ac:chgData name="Stephanie Mattsson" userId="77fffe8b-8c64-4110-a56b-5eb7399c61b9" providerId="ADAL" clId="{77B27497-8CA6-8846-AF23-C01C91407B95}" dt="2022-04-13T14:25:11.541" v="1625" actId="1076"/>
          <ac:picMkLst>
            <pc:docMk/>
            <pc:sldMk cId="2451173157" sldId="2697"/>
            <ac:picMk id="25" creationId="{9DAAD98F-04E9-8616-6DCB-39C57B8BAFC8}"/>
          </ac:picMkLst>
        </pc:picChg>
        <pc:picChg chg="add mod">
          <ac:chgData name="Stephanie Mattsson" userId="77fffe8b-8c64-4110-a56b-5eb7399c61b9" providerId="ADAL" clId="{77B27497-8CA6-8846-AF23-C01C91407B95}" dt="2022-04-13T14:25:43.921" v="1629" actId="1076"/>
          <ac:picMkLst>
            <pc:docMk/>
            <pc:sldMk cId="2451173157" sldId="2697"/>
            <ac:picMk id="26" creationId="{47C2D619-6B13-D501-AA96-0FC2BD330743}"/>
          </ac:picMkLst>
        </pc:picChg>
        <pc:picChg chg="add mod">
          <ac:chgData name="Stephanie Mattsson" userId="77fffe8b-8c64-4110-a56b-5eb7399c61b9" providerId="ADAL" clId="{77B27497-8CA6-8846-AF23-C01C91407B95}" dt="2022-04-13T14:26:26.463" v="1635" actId="1076"/>
          <ac:picMkLst>
            <pc:docMk/>
            <pc:sldMk cId="2451173157" sldId="2697"/>
            <ac:picMk id="27" creationId="{D775F468-E72D-5F3A-A875-D4DFC7CE84B7}"/>
          </ac:picMkLst>
        </pc:picChg>
        <pc:picChg chg="add mod">
          <ac:chgData name="Stephanie Mattsson" userId="77fffe8b-8c64-4110-a56b-5eb7399c61b9" providerId="ADAL" clId="{77B27497-8CA6-8846-AF23-C01C91407B95}" dt="2022-04-13T14:26:58.786" v="1639" actId="1076"/>
          <ac:picMkLst>
            <pc:docMk/>
            <pc:sldMk cId="2451173157" sldId="2697"/>
            <ac:picMk id="28" creationId="{33A11EA4-52AC-B78A-3FAF-CBD6C765EA75}"/>
          </ac:picMkLst>
        </pc:picChg>
        <pc:picChg chg="del">
          <ac:chgData name="Stephanie Mattsson" userId="77fffe8b-8c64-4110-a56b-5eb7399c61b9" providerId="ADAL" clId="{77B27497-8CA6-8846-AF23-C01C91407B95}" dt="2022-04-13T10:57:01.520" v="1376" actId="478"/>
          <ac:picMkLst>
            <pc:docMk/>
            <pc:sldMk cId="2451173157" sldId="2697"/>
            <ac:picMk id="31" creationId="{654D3296-96F0-0345-8D43-F949F6D2CF27}"/>
          </ac:picMkLst>
        </pc:picChg>
        <pc:picChg chg="del">
          <ac:chgData name="Stephanie Mattsson" userId="77fffe8b-8c64-4110-a56b-5eb7399c61b9" providerId="ADAL" clId="{77B27497-8CA6-8846-AF23-C01C91407B95}" dt="2022-04-13T10:57:26.924" v="1380" actId="478"/>
          <ac:picMkLst>
            <pc:docMk/>
            <pc:sldMk cId="2451173157" sldId="2697"/>
            <ac:picMk id="32" creationId="{9751D2EE-C26D-B64C-B387-0906ED556194}"/>
          </ac:picMkLst>
        </pc:picChg>
        <pc:picChg chg="mod">
          <ac:chgData name="Stephanie Mattsson" userId="77fffe8b-8c64-4110-a56b-5eb7399c61b9" providerId="ADAL" clId="{77B27497-8CA6-8846-AF23-C01C91407B95}" dt="2022-04-13T11:00:29.408" v="1515" actId="1036"/>
          <ac:picMkLst>
            <pc:docMk/>
            <pc:sldMk cId="2451173157" sldId="2697"/>
            <ac:picMk id="33" creationId="{ECD11009-272E-9C43-9905-F5BDE19C1D40}"/>
          </ac:picMkLst>
        </pc:picChg>
        <pc:picChg chg="mod">
          <ac:chgData name="Stephanie Mattsson" userId="77fffe8b-8c64-4110-a56b-5eb7399c61b9" providerId="ADAL" clId="{77B27497-8CA6-8846-AF23-C01C91407B95}" dt="2022-04-13T11:00:29.408" v="1515" actId="1036"/>
          <ac:picMkLst>
            <pc:docMk/>
            <pc:sldMk cId="2451173157" sldId="2697"/>
            <ac:picMk id="34" creationId="{F9B41FD0-FE65-5848-9385-CC70CEC526CB}"/>
          </ac:picMkLst>
        </pc:picChg>
        <pc:picChg chg="del">
          <ac:chgData name="Stephanie Mattsson" userId="77fffe8b-8c64-4110-a56b-5eb7399c61b9" providerId="ADAL" clId="{77B27497-8CA6-8846-AF23-C01C91407B95}" dt="2022-04-13T10:57:48.430" v="1385" actId="478"/>
          <ac:picMkLst>
            <pc:docMk/>
            <pc:sldMk cId="2451173157" sldId="2697"/>
            <ac:picMk id="50" creationId="{7DD1233B-48BF-4C4F-BC68-A2579EB1EE09}"/>
          </ac:picMkLst>
        </pc:picChg>
        <pc:picChg chg="del">
          <ac:chgData name="Stephanie Mattsson" userId="77fffe8b-8c64-4110-a56b-5eb7399c61b9" providerId="ADAL" clId="{77B27497-8CA6-8846-AF23-C01C91407B95}" dt="2022-04-13T10:57:44.404" v="1383" actId="478"/>
          <ac:picMkLst>
            <pc:docMk/>
            <pc:sldMk cId="2451173157" sldId="2697"/>
            <ac:picMk id="51" creationId="{25F9A94F-9E6F-D143-BB73-99277AFB6AA6}"/>
          </ac:picMkLst>
        </pc:picChg>
        <pc:picChg chg="mod">
          <ac:chgData name="Stephanie Mattsson" userId="77fffe8b-8c64-4110-a56b-5eb7399c61b9" providerId="ADAL" clId="{77B27497-8CA6-8846-AF23-C01C91407B95}" dt="2022-04-13T11:00:29.408" v="1515" actId="1036"/>
          <ac:picMkLst>
            <pc:docMk/>
            <pc:sldMk cId="2451173157" sldId="2697"/>
            <ac:picMk id="52" creationId="{C126C71D-031A-4E4C-A0ED-50608D4E3573}"/>
          </ac:picMkLst>
        </pc:picChg>
      </pc:sldChg>
      <pc:sldChg chg="delSp modSp add del mod">
        <pc:chgData name="Stephanie Mattsson" userId="77fffe8b-8c64-4110-a56b-5eb7399c61b9" providerId="ADAL" clId="{77B27497-8CA6-8846-AF23-C01C91407B95}" dt="2022-04-13T14:31:45.777" v="1862" actId="2696"/>
        <pc:sldMkLst>
          <pc:docMk/>
          <pc:sldMk cId="1785058967" sldId="2698"/>
        </pc:sldMkLst>
        <pc:spChg chg="mod">
          <ac:chgData name="Stephanie Mattsson" userId="77fffe8b-8c64-4110-a56b-5eb7399c61b9" providerId="ADAL" clId="{77B27497-8CA6-8846-AF23-C01C91407B95}" dt="2022-04-13T14:28:28.455" v="1645" actId="207"/>
          <ac:spMkLst>
            <pc:docMk/>
            <pc:sldMk cId="1785058967" sldId="2698"/>
            <ac:spMk id="2" creationId="{66C3142D-3355-D644-8BD9-E5C46466561D}"/>
          </ac:spMkLst>
        </pc:spChg>
        <pc:spChg chg="del mod">
          <ac:chgData name="Stephanie Mattsson" userId="77fffe8b-8c64-4110-a56b-5eb7399c61b9" providerId="ADAL" clId="{77B27497-8CA6-8846-AF23-C01C91407B95}" dt="2022-04-13T14:29:03.571" v="1649" actId="478"/>
          <ac:spMkLst>
            <pc:docMk/>
            <pc:sldMk cId="1785058967" sldId="2698"/>
            <ac:spMk id="23" creationId="{A9B9300C-3650-91B3-D6B1-AA31EB2A9DD3}"/>
          </ac:spMkLst>
        </pc:spChg>
        <pc:spChg chg="mod">
          <ac:chgData name="Stephanie Mattsson" userId="77fffe8b-8c64-4110-a56b-5eb7399c61b9" providerId="ADAL" clId="{77B27497-8CA6-8846-AF23-C01C91407B95}" dt="2022-04-13T14:28:15.537" v="1643" actId="207"/>
          <ac:spMkLst>
            <pc:docMk/>
            <pc:sldMk cId="1785058967" sldId="2698"/>
            <ac:spMk id="35" creationId="{71C2EF32-D181-F14D-8A38-4C9A5BAFEA32}"/>
          </ac:spMkLst>
        </pc:spChg>
        <pc:spChg chg="mod">
          <ac:chgData name="Stephanie Mattsson" userId="77fffe8b-8c64-4110-a56b-5eb7399c61b9" providerId="ADAL" clId="{77B27497-8CA6-8846-AF23-C01C91407B95}" dt="2022-04-13T14:28:28.455" v="1645" actId="207"/>
          <ac:spMkLst>
            <pc:docMk/>
            <pc:sldMk cId="1785058967" sldId="2698"/>
            <ac:spMk id="36" creationId="{ED587A22-1A24-8548-BD46-080E6554F29A}"/>
          </ac:spMkLst>
        </pc:spChg>
        <pc:spChg chg="mod">
          <ac:chgData name="Stephanie Mattsson" userId="77fffe8b-8c64-4110-a56b-5eb7399c61b9" providerId="ADAL" clId="{77B27497-8CA6-8846-AF23-C01C91407B95}" dt="2022-04-13T14:28:15.537" v="1643" actId="207"/>
          <ac:spMkLst>
            <pc:docMk/>
            <pc:sldMk cId="1785058967" sldId="2698"/>
            <ac:spMk id="37" creationId="{A5EF99E6-FAB8-2346-A343-34570B94BC29}"/>
          </ac:spMkLst>
        </pc:spChg>
        <pc:spChg chg="mod">
          <ac:chgData name="Stephanie Mattsson" userId="77fffe8b-8c64-4110-a56b-5eb7399c61b9" providerId="ADAL" clId="{77B27497-8CA6-8846-AF23-C01C91407B95}" dt="2022-04-13T14:28:15.537" v="1643" actId="207"/>
          <ac:spMkLst>
            <pc:docMk/>
            <pc:sldMk cId="1785058967" sldId="2698"/>
            <ac:spMk id="38" creationId="{C35A410D-1F7C-1F4B-95FF-6227F91325C0}"/>
          </ac:spMkLst>
        </pc:spChg>
        <pc:spChg chg="mod">
          <ac:chgData name="Stephanie Mattsson" userId="77fffe8b-8c64-4110-a56b-5eb7399c61b9" providerId="ADAL" clId="{77B27497-8CA6-8846-AF23-C01C91407B95}" dt="2022-04-13T14:28:15.537" v="1643" actId="207"/>
          <ac:spMkLst>
            <pc:docMk/>
            <pc:sldMk cId="1785058967" sldId="2698"/>
            <ac:spMk id="47" creationId="{C042DEED-CEAE-054E-A4DF-7459090495F8}"/>
          </ac:spMkLst>
        </pc:spChg>
        <pc:spChg chg="mod">
          <ac:chgData name="Stephanie Mattsson" userId="77fffe8b-8c64-4110-a56b-5eb7399c61b9" providerId="ADAL" clId="{77B27497-8CA6-8846-AF23-C01C91407B95}" dt="2022-04-13T14:28:28.455" v="1645" actId="207"/>
          <ac:spMkLst>
            <pc:docMk/>
            <pc:sldMk cId="1785058967" sldId="2698"/>
            <ac:spMk id="48" creationId="{D3CB3F30-CB4E-4C46-BC6D-DAAD04D58015}"/>
          </ac:spMkLst>
        </pc:spChg>
        <pc:picChg chg="mod">
          <ac:chgData name="Stephanie Mattsson" userId="77fffe8b-8c64-4110-a56b-5eb7399c61b9" providerId="ADAL" clId="{77B27497-8CA6-8846-AF23-C01C91407B95}" dt="2022-04-13T14:28:01.865" v="1642" actId="692"/>
          <ac:picMkLst>
            <pc:docMk/>
            <pc:sldMk cId="1785058967" sldId="2698"/>
            <ac:picMk id="25" creationId="{9DAAD98F-04E9-8616-6DCB-39C57B8BAFC8}"/>
          </ac:picMkLst>
        </pc:picChg>
        <pc:picChg chg="mod">
          <ac:chgData name="Stephanie Mattsson" userId="77fffe8b-8c64-4110-a56b-5eb7399c61b9" providerId="ADAL" clId="{77B27497-8CA6-8846-AF23-C01C91407B95}" dt="2022-04-13T14:28:01.865" v="1642" actId="692"/>
          <ac:picMkLst>
            <pc:docMk/>
            <pc:sldMk cId="1785058967" sldId="2698"/>
            <ac:picMk id="26" creationId="{47C2D619-6B13-D501-AA96-0FC2BD330743}"/>
          </ac:picMkLst>
        </pc:picChg>
        <pc:picChg chg="mod">
          <ac:chgData name="Stephanie Mattsson" userId="77fffe8b-8c64-4110-a56b-5eb7399c61b9" providerId="ADAL" clId="{77B27497-8CA6-8846-AF23-C01C91407B95}" dt="2022-04-13T14:28:01.865" v="1642" actId="692"/>
          <ac:picMkLst>
            <pc:docMk/>
            <pc:sldMk cId="1785058967" sldId="2698"/>
            <ac:picMk id="27" creationId="{D775F468-E72D-5F3A-A875-D4DFC7CE84B7}"/>
          </ac:picMkLst>
        </pc:picChg>
        <pc:picChg chg="mod">
          <ac:chgData name="Stephanie Mattsson" userId="77fffe8b-8c64-4110-a56b-5eb7399c61b9" providerId="ADAL" clId="{77B27497-8CA6-8846-AF23-C01C91407B95}" dt="2022-04-13T14:28:01.865" v="1642" actId="692"/>
          <ac:picMkLst>
            <pc:docMk/>
            <pc:sldMk cId="1785058967" sldId="2698"/>
            <ac:picMk id="28" creationId="{33A11EA4-52AC-B78A-3FAF-CBD6C765EA75}"/>
          </ac:picMkLst>
        </pc:picChg>
        <pc:picChg chg="mod">
          <ac:chgData name="Stephanie Mattsson" userId="77fffe8b-8c64-4110-a56b-5eb7399c61b9" providerId="ADAL" clId="{77B27497-8CA6-8846-AF23-C01C91407B95}" dt="2022-04-13T14:28:22.193" v="1644" actId="692"/>
          <ac:picMkLst>
            <pc:docMk/>
            <pc:sldMk cId="1785058967" sldId="2698"/>
            <ac:picMk id="33" creationId="{ECD11009-272E-9C43-9905-F5BDE19C1D40}"/>
          </ac:picMkLst>
        </pc:picChg>
        <pc:picChg chg="mod">
          <ac:chgData name="Stephanie Mattsson" userId="77fffe8b-8c64-4110-a56b-5eb7399c61b9" providerId="ADAL" clId="{77B27497-8CA6-8846-AF23-C01C91407B95}" dt="2022-04-13T14:28:22.193" v="1644" actId="692"/>
          <ac:picMkLst>
            <pc:docMk/>
            <pc:sldMk cId="1785058967" sldId="2698"/>
            <ac:picMk id="34" creationId="{F9B41FD0-FE65-5848-9385-CC70CEC526CB}"/>
          </ac:picMkLst>
        </pc:picChg>
        <pc:picChg chg="mod">
          <ac:chgData name="Stephanie Mattsson" userId="77fffe8b-8c64-4110-a56b-5eb7399c61b9" providerId="ADAL" clId="{77B27497-8CA6-8846-AF23-C01C91407B95}" dt="2022-04-13T14:28:22.193" v="1644" actId="692"/>
          <ac:picMkLst>
            <pc:docMk/>
            <pc:sldMk cId="1785058967" sldId="2698"/>
            <ac:picMk id="52" creationId="{C126C71D-031A-4E4C-A0ED-50608D4E3573}"/>
          </ac:picMkLst>
        </pc:picChg>
      </pc:sldChg>
      <pc:sldChg chg="addSp delSp modSp add del mod addCm delCm modCm">
        <pc:chgData name="Stephanie Mattsson" userId="77fffe8b-8c64-4110-a56b-5eb7399c61b9" providerId="ADAL" clId="{77B27497-8CA6-8846-AF23-C01C91407B95}" dt="2022-04-14T07:48:22.105" v="2073" actId="2696"/>
        <pc:sldMkLst>
          <pc:docMk/>
          <pc:sldMk cId="3971753728" sldId="2699"/>
        </pc:sldMkLst>
        <pc:spChg chg="del">
          <ac:chgData name="Stephanie Mattsson" userId="77fffe8b-8c64-4110-a56b-5eb7399c61b9" providerId="ADAL" clId="{77B27497-8CA6-8846-AF23-C01C91407B95}" dt="2022-04-13T14:29:26.902" v="1651" actId="478"/>
          <ac:spMkLst>
            <pc:docMk/>
            <pc:sldMk cId="3971753728" sldId="2699"/>
            <ac:spMk id="2" creationId="{66C3142D-3355-D644-8BD9-E5C46466561D}"/>
          </ac:spMkLst>
        </pc:spChg>
        <pc:spChg chg="add mod">
          <ac:chgData name="Stephanie Mattsson" userId="77fffe8b-8c64-4110-a56b-5eb7399c61b9" providerId="ADAL" clId="{77B27497-8CA6-8846-AF23-C01C91407B95}" dt="2022-04-13T14:31:12.319" v="1860" actId="1036"/>
          <ac:spMkLst>
            <pc:docMk/>
            <pc:sldMk cId="3971753728" sldId="2699"/>
            <ac:spMk id="3" creationId="{17EC2598-B2CC-4202-7F57-914613324470}"/>
          </ac:spMkLst>
        </pc:spChg>
        <pc:spChg chg="add mod">
          <ac:chgData name="Stephanie Mattsson" userId="77fffe8b-8c64-4110-a56b-5eb7399c61b9" providerId="ADAL" clId="{77B27497-8CA6-8846-AF23-C01C91407B95}" dt="2022-04-13T14:30:47.457" v="1836" actId="1036"/>
          <ac:spMkLst>
            <pc:docMk/>
            <pc:sldMk cId="3971753728" sldId="2699"/>
            <ac:spMk id="21" creationId="{B98BE0D0-4ECA-1EE2-6039-C954D56C0667}"/>
          </ac:spMkLst>
        </pc:spChg>
        <pc:spChg chg="add mod">
          <ac:chgData name="Stephanie Mattsson" userId="77fffe8b-8c64-4110-a56b-5eb7399c61b9" providerId="ADAL" clId="{77B27497-8CA6-8846-AF23-C01C91407B95}" dt="2022-04-13T14:30:47.457" v="1836" actId="1036"/>
          <ac:spMkLst>
            <pc:docMk/>
            <pc:sldMk cId="3971753728" sldId="2699"/>
            <ac:spMk id="22" creationId="{5EB724C3-FCFA-AEF6-2686-5BEF0E2EE38B}"/>
          </ac:spMkLst>
        </pc:spChg>
        <pc:spChg chg="del">
          <ac:chgData name="Stephanie Mattsson" userId="77fffe8b-8c64-4110-a56b-5eb7399c61b9" providerId="ADAL" clId="{77B27497-8CA6-8846-AF23-C01C91407B95}" dt="2022-04-13T14:29:26.902" v="1651" actId="478"/>
          <ac:spMkLst>
            <pc:docMk/>
            <pc:sldMk cId="3971753728" sldId="2699"/>
            <ac:spMk id="23" creationId="{A9B9300C-3650-91B3-D6B1-AA31EB2A9DD3}"/>
          </ac:spMkLst>
        </pc:spChg>
        <pc:spChg chg="add mod">
          <ac:chgData name="Stephanie Mattsson" userId="77fffe8b-8c64-4110-a56b-5eb7399c61b9" providerId="ADAL" clId="{77B27497-8CA6-8846-AF23-C01C91407B95}" dt="2022-04-13T14:30:47.457" v="1836" actId="1036"/>
          <ac:spMkLst>
            <pc:docMk/>
            <pc:sldMk cId="3971753728" sldId="2699"/>
            <ac:spMk id="24" creationId="{F62ED620-40CB-9F5B-2E29-2DCA10A2A47D}"/>
          </ac:spMkLst>
        </pc:spChg>
        <pc:spChg chg="mod">
          <ac:chgData name="Stephanie Mattsson" userId="77fffe8b-8c64-4110-a56b-5eb7399c61b9" providerId="ADAL" clId="{77B27497-8CA6-8846-AF23-C01C91407B95}" dt="2022-04-13T14:31:06.095" v="1858" actId="1035"/>
          <ac:spMkLst>
            <pc:docMk/>
            <pc:sldMk cId="3971753728" sldId="2699"/>
            <ac:spMk id="35" creationId="{71C2EF32-D181-F14D-8A38-4C9A5BAFEA32}"/>
          </ac:spMkLst>
        </pc:spChg>
        <pc:spChg chg="del">
          <ac:chgData name="Stephanie Mattsson" userId="77fffe8b-8c64-4110-a56b-5eb7399c61b9" providerId="ADAL" clId="{77B27497-8CA6-8846-AF23-C01C91407B95}" dt="2022-04-13T14:29:26.902" v="1651" actId="478"/>
          <ac:spMkLst>
            <pc:docMk/>
            <pc:sldMk cId="3971753728" sldId="2699"/>
            <ac:spMk id="36" creationId="{ED587A22-1A24-8548-BD46-080E6554F29A}"/>
          </ac:spMkLst>
        </pc:spChg>
        <pc:spChg chg="mod">
          <ac:chgData name="Stephanie Mattsson" userId="77fffe8b-8c64-4110-a56b-5eb7399c61b9" providerId="ADAL" clId="{77B27497-8CA6-8846-AF23-C01C91407B95}" dt="2022-04-13T14:31:06.095" v="1858" actId="1035"/>
          <ac:spMkLst>
            <pc:docMk/>
            <pc:sldMk cId="3971753728" sldId="2699"/>
            <ac:spMk id="37" creationId="{A5EF99E6-FAB8-2346-A343-34570B94BC29}"/>
          </ac:spMkLst>
        </pc:spChg>
        <pc:spChg chg="mod">
          <ac:chgData name="Stephanie Mattsson" userId="77fffe8b-8c64-4110-a56b-5eb7399c61b9" providerId="ADAL" clId="{77B27497-8CA6-8846-AF23-C01C91407B95}" dt="2022-04-14T07:45:18.083" v="1992" actId="14100"/>
          <ac:spMkLst>
            <pc:docMk/>
            <pc:sldMk cId="3971753728" sldId="2699"/>
            <ac:spMk id="38" creationId="{C35A410D-1F7C-1F4B-95FF-6227F91325C0}"/>
          </ac:spMkLst>
        </pc:spChg>
        <pc:spChg chg="mod">
          <ac:chgData name="Stephanie Mattsson" userId="77fffe8b-8c64-4110-a56b-5eb7399c61b9" providerId="ADAL" clId="{77B27497-8CA6-8846-AF23-C01C91407B95}" dt="2022-04-13T14:31:06.095" v="1858" actId="1035"/>
          <ac:spMkLst>
            <pc:docMk/>
            <pc:sldMk cId="3971753728" sldId="2699"/>
            <ac:spMk id="47" creationId="{C042DEED-CEAE-054E-A4DF-7459090495F8}"/>
          </ac:spMkLst>
        </pc:spChg>
        <pc:spChg chg="del">
          <ac:chgData name="Stephanie Mattsson" userId="77fffe8b-8c64-4110-a56b-5eb7399c61b9" providerId="ADAL" clId="{77B27497-8CA6-8846-AF23-C01C91407B95}" dt="2022-04-13T14:29:26.902" v="1651" actId="478"/>
          <ac:spMkLst>
            <pc:docMk/>
            <pc:sldMk cId="3971753728" sldId="2699"/>
            <ac:spMk id="48" creationId="{D3CB3F30-CB4E-4C46-BC6D-DAAD04D58015}"/>
          </ac:spMkLst>
        </pc:spChg>
        <pc:picChg chg="add mod">
          <ac:chgData name="Stephanie Mattsson" userId="77fffe8b-8c64-4110-a56b-5eb7399c61b9" providerId="ADAL" clId="{77B27497-8CA6-8846-AF23-C01C91407B95}" dt="2022-04-13T14:30:47.457" v="1836" actId="1036"/>
          <ac:picMkLst>
            <pc:docMk/>
            <pc:sldMk cId="3971753728" sldId="2699"/>
            <ac:picMk id="19" creationId="{D42F4183-9BC8-4ACA-FB4E-660B4CC5AB30}"/>
          </ac:picMkLst>
        </pc:picChg>
        <pc:picChg chg="add mod">
          <ac:chgData name="Stephanie Mattsson" userId="77fffe8b-8c64-4110-a56b-5eb7399c61b9" providerId="ADAL" clId="{77B27497-8CA6-8846-AF23-C01C91407B95}" dt="2022-04-13T14:30:47.457" v="1836" actId="1036"/>
          <ac:picMkLst>
            <pc:docMk/>
            <pc:sldMk cId="3971753728" sldId="2699"/>
            <ac:picMk id="20" creationId="{7AFB2FC1-B186-C22F-3A80-6800190ACC0F}"/>
          </ac:picMkLst>
        </pc:picChg>
        <pc:picChg chg="mod">
          <ac:chgData name="Stephanie Mattsson" userId="77fffe8b-8c64-4110-a56b-5eb7399c61b9" providerId="ADAL" clId="{77B27497-8CA6-8846-AF23-C01C91407B95}" dt="2022-04-13T14:31:06.095" v="1858" actId="1035"/>
          <ac:picMkLst>
            <pc:docMk/>
            <pc:sldMk cId="3971753728" sldId="2699"/>
            <ac:picMk id="25" creationId="{9DAAD98F-04E9-8616-6DCB-39C57B8BAFC8}"/>
          </ac:picMkLst>
        </pc:picChg>
        <pc:picChg chg="mod">
          <ac:chgData name="Stephanie Mattsson" userId="77fffe8b-8c64-4110-a56b-5eb7399c61b9" providerId="ADAL" clId="{77B27497-8CA6-8846-AF23-C01C91407B95}" dt="2022-04-13T14:31:06.095" v="1858" actId="1035"/>
          <ac:picMkLst>
            <pc:docMk/>
            <pc:sldMk cId="3971753728" sldId="2699"/>
            <ac:picMk id="26" creationId="{47C2D619-6B13-D501-AA96-0FC2BD330743}"/>
          </ac:picMkLst>
        </pc:picChg>
        <pc:picChg chg="mod">
          <ac:chgData name="Stephanie Mattsson" userId="77fffe8b-8c64-4110-a56b-5eb7399c61b9" providerId="ADAL" clId="{77B27497-8CA6-8846-AF23-C01C91407B95}" dt="2022-04-13T14:31:06.095" v="1858" actId="1035"/>
          <ac:picMkLst>
            <pc:docMk/>
            <pc:sldMk cId="3971753728" sldId="2699"/>
            <ac:picMk id="27" creationId="{D775F468-E72D-5F3A-A875-D4DFC7CE84B7}"/>
          </ac:picMkLst>
        </pc:picChg>
        <pc:picChg chg="mod">
          <ac:chgData name="Stephanie Mattsson" userId="77fffe8b-8c64-4110-a56b-5eb7399c61b9" providerId="ADAL" clId="{77B27497-8CA6-8846-AF23-C01C91407B95}" dt="2022-04-13T14:31:06.095" v="1858" actId="1035"/>
          <ac:picMkLst>
            <pc:docMk/>
            <pc:sldMk cId="3971753728" sldId="2699"/>
            <ac:picMk id="28" creationId="{33A11EA4-52AC-B78A-3FAF-CBD6C765EA75}"/>
          </ac:picMkLst>
        </pc:picChg>
        <pc:picChg chg="add mod">
          <ac:chgData name="Stephanie Mattsson" userId="77fffe8b-8c64-4110-a56b-5eb7399c61b9" providerId="ADAL" clId="{77B27497-8CA6-8846-AF23-C01C91407B95}" dt="2022-04-13T14:30:47.457" v="1836" actId="1036"/>
          <ac:picMkLst>
            <pc:docMk/>
            <pc:sldMk cId="3971753728" sldId="2699"/>
            <ac:picMk id="30" creationId="{921A26A2-5B50-07BA-5C32-B46BBBA793C9}"/>
          </ac:picMkLst>
        </pc:picChg>
        <pc:picChg chg="del">
          <ac:chgData name="Stephanie Mattsson" userId="77fffe8b-8c64-4110-a56b-5eb7399c61b9" providerId="ADAL" clId="{77B27497-8CA6-8846-AF23-C01C91407B95}" dt="2022-04-13T14:29:26.902" v="1651" actId="478"/>
          <ac:picMkLst>
            <pc:docMk/>
            <pc:sldMk cId="3971753728" sldId="2699"/>
            <ac:picMk id="33" creationId="{ECD11009-272E-9C43-9905-F5BDE19C1D40}"/>
          </ac:picMkLst>
        </pc:picChg>
        <pc:picChg chg="del">
          <ac:chgData name="Stephanie Mattsson" userId="77fffe8b-8c64-4110-a56b-5eb7399c61b9" providerId="ADAL" clId="{77B27497-8CA6-8846-AF23-C01C91407B95}" dt="2022-04-13T14:29:26.902" v="1651" actId="478"/>
          <ac:picMkLst>
            <pc:docMk/>
            <pc:sldMk cId="3971753728" sldId="2699"/>
            <ac:picMk id="34" creationId="{F9B41FD0-FE65-5848-9385-CC70CEC526CB}"/>
          </ac:picMkLst>
        </pc:picChg>
        <pc:picChg chg="del">
          <ac:chgData name="Stephanie Mattsson" userId="77fffe8b-8c64-4110-a56b-5eb7399c61b9" providerId="ADAL" clId="{77B27497-8CA6-8846-AF23-C01C91407B95}" dt="2022-04-13T14:29:26.902" v="1651" actId="478"/>
          <ac:picMkLst>
            <pc:docMk/>
            <pc:sldMk cId="3971753728" sldId="2699"/>
            <ac:picMk id="52" creationId="{C126C71D-031A-4E4C-A0ED-50608D4E3573}"/>
          </ac:picMkLst>
        </pc:picChg>
      </pc:sldChg>
      <pc:sldChg chg="addSp delSp modSp add mod addCm delCm modCm">
        <pc:chgData name="Stephanie Mattsson" userId="77fffe8b-8c64-4110-a56b-5eb7399c61b9" providerId="ADAL" clId="{77B27497-8CA6-8846-AF23-C01C91407B95}" dt="2022-04-26T13:29:02.736" v="3022" actId="14100"/>
        <pc:sldMkLst>
          <pc:docMk/>
          <pc:sldMk cId="2642031561" sldId="2700"/>
        </pc:sldMkLst>
        <pc:spChg chg="mod topLvl">
          <ac:chgData name="Stephanie Mattsson" userId="77fffe8b-8c64-4110-a56b-5eb7399c61b9" providerId="ADAL" clId="{77B27497-8CA6-8846-AF23-C01C91407B95}" dt="2022-04-26T13:23:31.227" v="2971" actId="14100"/>
          <ac:spMkLst>
            <pc:docMk/>
            <pc:sldMk cId="2642031561" sldId="2700"/>
            <ac:spMk id="3" creationId="{700E9532-132D-7E43-B551-8AF0592C12A1}"/>
          </ac:spMkLst>
        </pc:spChg>
        <pc:spChg chg="mod topLvl">
          <ac:chgData name="Stephanie Mattsson" userId="77fffe8b-8c64-4110-a56b-5eb7399c61b9" providerId="ADAL" clId="{77B27497-8CA6-8846-AF23-C01C91407B95}" dt="2022-04-26T13:22:52.366" v="2931" actId="207"/>
          <ac:spMkLst>
            <pc:docMk/>
            <pc:sldMk cId="2642031561" sldId="2700"/>
            <ac:spMk id="4" creationId="{69D2A4B3-2406-7D4A-B44D-9165A0C4F601}"/>
          </ac:spMkLst>
        </pc:spChg>
        <pc:spChg chg="del mod">
          <ac:chgData name="Stephanie Mattsson" userId="77fffe8b-8c64-4110-a56b-5eb7399c61b9" providerId="ADAL" clId="{77B27497-8CA6-8846-AF23-C01C91407B95}" dt="2022-04-13T14:49:30.713" v="1884" actId="478"/>
          <ac:spMkLst>
            <pc:docMk/>
            <pc:sldMk cId="2642031561" sldId="2700"/>
            <ac:spMk id="5" creationId="{2E0CCD66-E4EE-894D-9392-ACEB6B2067A0}"/>
          </ac:spMkLst>
        </pc:spChg>
        <pc:spChg chg="mod topLvl">
          <ac:chgData name="Stephanie Mattsson" userId="77fffe8b-8c64-4110-a56b-5eb7399c61b9" providerId="ADAL" clId="{77B27497-8CA6-8846-AF23-C01C91407B95}" dt="2022-04-26T13:29:02.736" v="3022" actId="14100"/>
          <ac:spMkLst>
            <pc:docMk/>
            <pc:sldMk cId="2642031561" sldId="2700"/>
            <ac:spMk id="7" creationId="{167D5B5A-5FBA-7F4B-9467-7B33DD4566C6}"/>
          </ac:spMkLst>
        </pc:spChg>
        <pc:spChg chg="del">
          <ac:chgData name="Stephanie Mattsson" userId="77fffe8b-8c64-4110-a56b-5eb7399c61b9" providerId="ADAL" clId="{77B27497-8CA6-8846-AF23-C01C91407B95}" dt="2022-04-13T14:48:54.521" v="1882" actId="478"/>
          <ac:spMkLst>
            <pc:docMk/>
            <pc:sldMk cId="2642031561" sldId="2700"/>
            <ac:spMk id="12" creationId="{A9519C33-BD01-4342-AEDC-2580C0EABE21}"/>
          </ac:spMkLst>
        </pc:spChg>
        <pc:spChg chg="mod topLvl">
          <ac:chgData name="Stephanie Mattsson" userId="77fffe8b-8c64-4110-a56b-5eb7399c61b9" providerId="ADAL" clId="{77B27497-8CA6-8846-AF23-C01C91407B95}" dt="2022-04-26T13:21:36.415" v="2892" actId="1038"/>
          <ac:spMkLst>
            <pc:docMk/>
            <pc:sldMk cId="2642031561" sldId="2700"/>
            <ac:spMk id="13" creationId="{D842D4DD-0833-9D43-A07E-418D710D235B}"/>
          </ac:spMkLst>
        </pc:spChg>
        <pc:spChg chg="del">
          <ac:chgData name="Stephanie Mattsson" userId="77fffe8b-8c64-4110-a56b-5eb7399c61b9" providerId="ADAL" clId="{77B27497-8CA6-8846-AF23-C01C91407B95}" dt="2022-04-13T14:52:16.084" v="1952" actId="478"/>
          <ac:spMkLst>
            <pc:docMk/>
            <pc:sldMk cId="2642031561" sldId="2700"/>
            <ac:spMk id="14" creationId="{AD1EFFB4-0FF6-FE47-A087-E6F30B1A22F9}"/>
          </ac:spMkLst>
        </pc:spChg>
        <pc:spChg chg="mod topLvl">
          <ac:chgData name="Stephanie Mattsson" userId="77fffe8b-8c64-4110-a56b-5eb7399c61b9" providerId="ADAL" clId="{77B27497-8CA6-8846-AF23-C01C91407B95}" dt="2022-04-26T13:21:36.415" v="2892" actId="1038"/>
          <ac:spMkLst>
            <pc:docMk/>
            <pc:sldMk cId="2642031561" sldId="2700"/>
            <ac:spMk id="15" creationId="{0E122CC0-82CD-434A-A094-F3D8C3DB55C7}"/>
          </ac:spMkLst>
        </pc:spChg>
        <pc:spChg chg="del">
          <ac:chgData name="Stephanie Mattsson" userId="77fffe8b-8c64-4110-a56b-5eb7399c61b9" providerId="ADAL" clId="{77B27497-8CA6-8846-AF23-C01C91407B95}" dt="2022-04-13T14:51:48.603" v="1944" actId="478"/>
          <ac:spMkLst>
            <pc:docMk/>
            <pc:sldMk cId="2642031561" sldId="2700"/>
            <ac:spMk id="18" creationId="{A174D7E0-E53F-E540-B0D9-2C6A008AB643}"/>
          </ac:spMkLst>
        </pc:spChg>
        <pc:spChg chg="add mod topLvl">
          <ac:chgData name="Stephanie Mattsson" userId="77fffe8b-8c64-4110-a56b-5eb7399c61b9" providerId="ADAL" clId="{77B27497-8CA6-8846-AF23-C01C91407B95}" dt="2022-04-26T13:27:34.673" v="3002" actId="14100"/>
          <ac:spMkLst>
            <pc:docMk/>
            <pc:sldMk cId="2642031561" sldId="2700"/>
            <ac:spMk id="20" creationId="{D16AFE0A-1D86-527E-BF24-FDC35AAD3C0D}"/>
          </ac:spMkLst>
        </pc:spChg>
        <pc:spChg chg="del">
          <ac:chgData name="Stephanie Mattsson" userId="77fffe8b-8c64-4110-a56b-5eb7399c61b9" providerId="ADAL" clId="{77B27497-8CA6-8846-AF23-C01C91407B95}" dt="2022-04-13T14:50:48.270" v="1900" actId="478"/>
          <ac:spMkLst>
            <pc:docMk/>
            <pc:sldMk cId="2642031561" sldId="2700"/>
            <ac:spMk id="21" creationId="{B40D2894-EA5F-C646-A4F1-1E914D6C5F1F}"/>
          </ac:spMkLst>
        </pc:spChg>
        <pc:spChg chg="mod topLvl">
          <ac:chgData name="Stephanie Mattsson" userId="77fffe8b-8c64-4110-a56b-5eb7399c61b9" providerId="ADAL" clId="{77B27497-8CA6-8846-AF23-C01C91407B95}" dt="2022-04-26T13:21:16.623" v="2837" actId="14100"/>
          <ac:spMkLst>
            <pc:docMk/>
            <pc:sldMk cId="2642031561" sldId="2700"/>
            <ac:spMk id="22" creationId="{A1492D10-683C-644B-97F8-D82753A23D19}"/>
          </ac:spMkLst>
        </pc:spChg>
        <pc:spChg chg="mod topLvl">
          <ac:chgData name="Stephanie Mattsson" userId="77fffe8b-8c64-4110-a56b-5eb7399c61b9" providerId="ADAL" clId="{77B27497-8CA6-8846-AF23-C01C91407B95}" dt="2022-04-26T13:21:16.623" v="2837" actId="14100"/>
          <ac:spMkLst>
            <pc:docMk/>
            <pc:sldMk cId="2642031561" sldId="2700"/>
            <ac:spMk id="23" creationId="{36CF2A7E-352C-3346-9A53-754874E3FD71}"/>
          </ac:spMkLst>
        </pc:spChg>
        <pc:spChg chg="mod topLvl">
          <ac:chgData name="Stephanie Mattsson" userId="77fffe8b-8c64-4110-a56b-5eb7399c61b9" providerId="ADAL" clId="{77B27497-8CA6-8846-AF23-C01C91407B95}" dt="2022-04-26T13:21:16.623" v="2837" actId="14100"/>
          <ac:spMkLst>
            <pc:docMk/>
            <pc:sldMk cId="2642031561" sldId="2700"/>
            <ac:spMk id="24" creationId="{E80FB3A9-A206-0441-B38D-FF15013FBBCA}"/>
          </ac:spMkLst>
        </pc:spChg>
        <pc:spChg chg="del">
          <ac:chgData name="Stephanie Mattsson" userId="77fffe8b-8c64-4110-a56b-5eb7399c61b9" providerId="ADAL" clId="{77B27497-8CA6-8846-AF23-C01C91407B95}" dt="2022-04-13T14:52:18.710" v="1953" actId="478"/>
          <ac:spMkLst>
            <pc:docMk/>
            <pc:sldMk cId="2642031561" sldId="2700"/>
            <ac:spMk id="25" creationId="{106028F6-4598-354A-8C46-4BC363BE9CC6}"/>
          </ac:spMkLst>
        </pc:spChg>
        <pc:spChg chg="add mod">
          <ac:chgData name="Stephanie Mattsson" userId="77fffe8b-8c64-4110-a56b-5eb7399c61b9" providerId="ADAL" clId="{77B27497-8CA6-8846-AF23-C01C91407B95}" dt="2022-04-26T13:28:23.729" v="3011" actId="113"/>
          <ac:spMkLst>
            <pc:docMk/>
            <pc:sldMk cId="2642031561" sldId="2700"/>
            <ac:spMk id="25" creationId="{D0001E13-DA81-B978-5317-E7DAA9E9BBC3}"/>
          </ac:spMkLst>
        </pc:spChg>
        <pc:spChg chg="mod topLvl">
          <ac:chgData name="Stephanie Mattsson" userId="77fffe8b-8c64-4110-a56b-5eb7399c61b9" providerId="ADAL" clId="{77B27497-8CA6-8846-AF23-C01C91407B95}" dt="2022-04-26T13:28:58.754" v="3021" actId="14100"/>
          <ac:spMkLst>
            <pc:docMk/>
            <pc:sldMk cId="2642031561" sldId="2700"/>
            <ac:spMk id="26" creationId="{D523722F-C206-2542-A9D0-7A770C540DED}"/>
          </ac:spMkLst>
        </pc:spChg>
        <pc:spChg chg="mod topLvl">
          <ac:chgData name="Stephanie Mattsson" userId="77fffe8b-8c64-4110-a56b-5eb7399c61b9" providerId="ADAL" clId="{77B27497-8CA6-8846-AF23-C01C91407B95}" dt="2022-04-26T13:21:36.415" v="2892" actId="1038"/>
          <ac:spMkLst>
            <pc:docMk/>
            <pc:sldMk cId="2642031561" sldId="2700"/>
            <ac:spMk id="27" creationId="{050856C1-35EC-CA47-A482-05C964DC4E19}"/>
          </ac:spMkLst>
        </pc:spChg>
        <pc:spChg chg="mod topLvl">
          <ac:chgData name="Stephanie Mattsson" userId="77fffe8b-8c64-4110-a56b-5eb7399c61b9" providerId="ADAL" clId="{77B27497-8CA6-8846-AF23-C01C91407B95}" dt="2022-04-26T13:21:36.415" v="2892" actId="1038"/>
          <ac:spMkLst>
            <pc:docMk/>
            <pc:sldMk cId="2642031561" sldId="2700"/>
            <ac:spMk id="28" creationId="{C551AD2B-AEE5-2F4F-9575-A848E7C843D3}"/>
          </ac:spMkLst>
        </pc:spChg>
        <pc:spChg chg="del mod">
          <ac:chgData name="Stephanie Mattsson" userId="77fffe8b-8c64-4110-a56b-5eb7399c61b9" providerId="ADAL" clId="{77B27497-8CA6-8846-AF23-C01C91407B95}" dt="2022-04-26T13:28:27.132" v="3012" actId="478"/>
          <ac:spMkLst>
            <pc:docMk/>
            <pc:sldMk cId="2642031561" sldId="2700"/>
            <ac:spMk id="29" creationId="{C9307F64-B09C-E749-859E-AC8F9C46D94E}"/>
          </ac:spMkLst>
        </pc:spChg>
        <pc:spChg chg="del">
          <ac:chgData name="Stephanie Mattsson" userId="77fffe8b-8c64-4110-a56b-5eb7399c61b9" providerId="ADAL" clId="{77B27497-8CA6-8846-AF23-C01C91407B95}" dt="2022-04-26T13:28:29.509" v="3013" actId="478"/>
          <ac:spMkLst>
            <pc:docMk/>
            <pc:sldMk cId="2642031561" sldId="2700"/>
            <ac:spMk id="30" creationId="{9E15087A-AAA9-8348-925C-CFB4D1AF8897}"/>
          </ac:spMkLst>
        </pc:spChg>
        <pc:spChg chg="add mod">
          <ac:chgData name="Stephanie Mattsson" userId="77fffe8b-8c64-4110-a56b-5eb7399c61b9" providerId="ADAL" clId="{77B27497-8CA6-8846-AF23-C01C91407B95}" dt="2022-04-26T13:26:47.075" v="2999" actId="404"/>
          <ac:spMkLst>
            <pc:docMk/>
            <pc:sldMk cId="2642031561" sldId="2700"/>
            <ac:spMk id="33" creationId="{59845B4F-142D-E0FE-847C-4F25FC4EFEC6}"/>
          </ac:spMkLst>
        </pc:spChg>
        <pc:grpChg chg="del mod">
          <ac:chgData name="Stephanie Mattsson" userId="77fffe8b-8c64-4110-a56b-5eb7399c61b9" providerId="ADAL" clId="{77B27497-8CA6-8846-AF23-C01C91407B95}" dt="2022-04-26T13:19:11.973" v="2826" actId="165"/>
          <ac:grpSpMkLst>
            <pc:docMk/>
            <pc:sldMk cId="2642031561" sldId="2700"/>
            <ac:grpSpMk id="6" creationId="{4F920079-DC21-994D-B565-7D25437573DC}"/>
          </ac:grpSpMkLst>
        </pc:grpChg>
        <pc:grpChg chg="del mod">
          <ac:chgData name="Stephanie Mattsson" userId="77fffe8b-8c64-4110-a56b-5eb7399c61b9" providerId="ADAL" clId="{77B27497-8CA6-8846-AF23-C01C91407B95}" dt="2022-04-26T13:19:11.973" v="2826" actId="165"/>
          <ac:grpSpMkLst>
            <pc:docMk/>
            <pc:sldMk cId="2642031561" sldId="2700"/>
            <ac:grpSpMk id="8" creationId="{D26160BC-5AE8-6640-B6E4-7605B2DC56FC}"/>
          </ac:grpSpMkLst>
        </pc:grpChg>
        <pc:grpChg chg="del mod">
          <ac:chgData name="Stephanie Mattsson" userId="77fffe8b-8c64-4110-a56b-5eb7399c61b9" providerId="ADAL" clId="{77B27497-8CA6-8846-AF23-C01C91407B95}" dt="2022-04-26T13:19:11.973" v="2826" actId="165"/>
          <ac:grpSpMkLst>
            <pc:docMk/>
            <pc:sldMk cId="2642031561" sldId="2700"/>
            <ac:grpSpMk id="9" creationId="{AE613D36-51D4-2D42-ABC0-8126F649A3AF}"/>
          </ac:grpSpMkLst>
        </pc:grpChg>
        <pc:grpChg chg="del mod">
          <ac:chgData name="Stephanie Mattsson" userId="77fffe8b-8c64-4110-a56b-5eb7399c61b9" providerId="ADAL" clId="{77B27497-8CA6-8846-AF23-C01C91407B95}" dt="2022-04-26T13:19:11.973" v="2826" actId="165"/>
          <ac:grpSpMkLst>
            <pc:docMk/>
            <pc:sldMk cId="2642031561" sldId="2700"/>
            <ac:grpSpMk id="10" creationId="{52B0C63A-2583-6242-B8F1-E7B39FD65EC5}"/>
          </ac:grpSpMkLst>
        </pc:grpChg>
      </pc:sldChg>
      <pc:sldChg chg="addSp modSp add mod addCm modCm">
        <pc:chgData name="Stephanie Mattsson" userId="77fffe8b-8c64-4110-a56b-5eb7399c61b9" providerId="ADAL" clId="{77B27497-8CA6-8846-AF23-C01C91407B95}" dt="2022-04-26T13:30:16.707" v="3036" actId="1076"/>
        <pc:sldMkLst>
          <pc:docMk/>
          <pc:sldMk cId="610412472" sldId="2701"/>
        </pc:sldMkLst>
        <pc:spChg chg="mod">
          <ac:chgData name="Stephanie Mattsson" userId="77fffe8b-8c64-4110-a56b-5eb7399c61b9" providerId="ADAL" clId="{77B27497-8CA6-8846-AF23-C01C91407B95}" dt="2022-04-19T13:07:06.189" v="2155" actId="14100"/>
          <ac:spMkLst>
            <pc:docMk/>
            <pc:sldMk cId="610412472" sldId="2701"/>
            <ac:spMk id="2" creationId="{534FAA8C-BD4A-F74D-9CDB-7668C4DB422D}"/>
          </ac:spMkLst>
        </pc:spChg>
        <pc:spChg chg="mod">
          <ac:chgData name="Stephanie Mattsson" userId="77fffe8b-8c64-4110-a56b-5eb7399c61b9" providerId="ADAL" clId="{77B27497-8CA6-8846-AF23-C01C91407B95}" dt="2022-04-14T07:49:44.850" v="2078" actId="14100"/>
          <ac:spMkLst>
            <pc:docMk/>
            <pc:sldMk cId="610412472" sldId="2701"/>
            <ac:spMk id="3" creationId="{17EC2598-B2CC-4202-7F57-914613324470}"/>
          </ac:spMkLst>
        </pc:spChg>
        <pc:spChg chg="mod">
          <ac:chgData name="Stephanie Mattsson" userId="77fffe8b-8c64-4110-a56b-5eb7399c61b9" providerId="ADAL" clId="{77B27497-8CA6-8846-AF23-C01C91407B95}" dt="2022-04-26T13:30:07.689" v="3035" actId="1035"/>
          <ac:spMkLst>
            <pc:docMk/>
            <pc:sldMk cId="610412472" sldId="2701"/>
            <ac:spMk id="4" creationId="{EFE8BCB2-783D-964B-A0F4-C187F31ABC00}"/>
          </ac:spMkLst>
        </pc:spChg>
        <pc:spChg chg="add mod">
          <ac:chgData name="Stephanie Mattsson" userId="77fffe8b-8c64-4110-a56b-5eb7399c61b9" providerId="ADAL" clId="{77B27497-8CA6-8846-AF23-C01C91407B95}" dt="2022-04-14T07:48:01.760" v="2062" actId="20577"/>
          <ac:spMkLst>
            <pc:docMk/>
            <pc:sldMk cId="610412472" sldId="2701"/>
            <ac:spMk id="18" creationId="{85F1864B-2F47-9783-FD34-7A448D8112B4}"/>
          </ac:spMkLst>
        </pc:spChg>
        <pc:spChg chg="mod">
          <ac:chgData name="Stephanie Mattsson" userId="77fffe8b-8c64-4110-a56b-5eb7399c61b9" providerId="ADAL" clId="{77B27497-8CA6-8846-AF23-C01C91407B95}" dt="2022-04-14T07:47:41.082" v="2037" actId="1076"/>
          <ac:spMkLst>
            <pc:docMk/>
            <pc:sldMk cId="610412472" sldId="2701"/>
            <ac:spMk id="21" creationId="{B98BE0D0-4ECA-1EE2-6039-C954D56C0667}"/>
          </ac:spMkLst>
        </pc:spChg>
        <pc:spChg chg="mod">
          <ac:chgData name="Stephanie Mattsson" userId="77fffe8b-8c64-4110-a56b-5eb7399c61b9" providerId="ADAL" clId="{77B27497-8CA6-8846-AF23-C01C91407B95}" dt="2022-04-19T13:06:11.802" v="2151" actId="1076"/>
          <ac:spMkLst>
            <pc:docMk/>
            <pc:sldMk cId="610412472" sldId="2701"/>
            <ac:spMk id="22" creationId="{5EB724C3-FCFA-AEF6-2686-5BEF0E2EE38B}"/>
          </ac:spMkLst>
        </pc:spChg>
        <pc:spChg chg="add mod">
          <ac:chgData name="Stephanie Mattsson" userId="77fffe8b-8c64-4110-a56b-5eb7399c61b9" providerId="ADAL" clId="{77B27497-8CA6-8846-AF23-C01C91407B95}" dt="2022-04-14T07:48:11.306" v="2072" actId="20577"/>
          <ac:spMkLst>
            <pc:docMk/>
            <pc:sldMk cId="610412472" sldId="2701"/>
            <ac:spMk id="23" creationId="{F44978CE-285E-A5C0-FE2E-2429690FFCA5}"/>
          </ac:spMkLst>
        </pc:spChg>
        <pc:spChg chg="mod">
          <ac:chgData name="Stephanie Mattsson" userId="77fffe8b-8c64-4110-a56b-5eb7399c61b9" providerId="ADAL" clId="{77B27497-8CA6-8846-AF23-C01C91407B95}" dt="2022-04-19T13:06:34.119" v="2154" actId="1076"/>
          <ac:spMkLst>
            <pc:docMk/>
            <pc:sldMk cId="610412472" sldId="2701"/>
            <ac:spMk id="24" creationId="{F62ED620-40CB-9F5B-2E29-2DCA10A2A47D}"/>
          </ac:spMkLst>
        </pc:spChg>
        <pc:spChg chg="mod">
          <ac:chgData name="Stephanie Mattsson" userId="77fffe8b-8c64-4110-a56b-5eb7399c61b9" providerId="ADAL" clId="{77B27497-8CA6-8846-AF23-C01C91407B95}" dt="2022-04-26T13:30:16.707" v="3036" actId="1076"/>
          <ac:spMkLst>
            <pc:docMk/>
            <pc:sldMk cId="610412472" sldId="2701"/>
            <ac:spMk id="33" creationId="{BD989B91-BD7D-1647-803E-E0EC54DFFC1F}"/>
          </ac:spMkLst>
        </pc:spChg>
        <pc:spChg chg="mod">
          <ac:chgData name="Stephanie Mattsson" userId="77fffe8b-8c64-4110-a56b-5eb7399c61b9" providerId="ADAL" clId="{77B27497-8CA6-8846-AF23-C01C91407B95}" dt="2022-04-14T07:47:26.212" v="2027" actId="1036"/>
          <ac:spMkLst>
            <pc:docMk/>
            <pc:sldMk cId="610412472" sldId="2701"/>
            <ac:spMk id="35" creationId="{71C2EF32-D181-F14D-8A38-4C9A5BAFEA32}"/>
          </ac:spMkLst>
        </pc:spChg>
        <pc:spChg chg="mod">
          <ac:chgData name="Stephanie Mattsson" userId="77fffe8b-8c64-4110-a56b-5eb7399c61b9" providerId="ADAL" clId="{77B27497-8CA6-8846-AF23-C01C91407B95}" dt="2022-04-14T07:47:26.212" v="2027" actId="1036"/>
          <ac:spMkLst>
            <pc:docMk/>
            <pc:sldMk cId="610412472" sldId="2701"/>
            <ac:spMk id="37" creationId="{A5EF99E6-FAB8-2346-A343-34570B94BC29}"/>
          </ac:spMkLst>
        </pc:spChg>
        <pc:spChg chg="mod">
          <ac:chgData name="Stephanie Mattsson" userId="77fffe8b-8c64-4110-a56b-5eb7399c61b9" providerId="ADAL" clId="{77B27497-8CA6-8846-AF23-C01C91407B95}" dt="2022-04-14T07:47:33.574" v="2036" actId="1036"/>
          <ac:spMkLst>
            <pc:docMk/>
            <pc:sldMk cId="610412472" sldId="2701"/>
            <ac:spMk id="38" creationId="{C35A410D-1F7C-1F4B-95FF-6227F91325C0}"/>
          </ac:spMkLst>
        </pc:spChg>
        <pc:spChg chg="mod">
          <ac:chgData name="Stephanie Mattsson" userId="77fffe8b-8c64-4110-a56b-5eb7399c61b9" providerId="ADAL" clId="{77B27497-8CA6-8846-AF23-C01C91407B95}" dt="2022-04-14T07:49:33.743" v="2077" actId="20577"/>
          <ac:spMkLst>
            <pc:docMk/>
            <pc:sldMk cId="610412472" sldId="2701"/>
            <ac:spMk id="47" creationId="{C042DEED-CEAE-054E-A4DF-7459090495F8}"/>
          </ac:spMkLst>
        </pc:spChg>
        <pc:picChg chg="mod">
          <ac:chgData name="Stephanie Mattsson" userId="77fffe8b-8c64-4110-a56b-5eb7399c61b9" providerId="ADAL" clId="{77B27497-8CA6-8846-AF23-C01C91407B95}" dt="2022-04-14T07:47:41.082" v="2037" actId="1076"/>
          <ac:picMkLst>
            <pc:docMk/>
            <pc:sldMk cId="610412472" sldId="2701"/>
            <ac:picMk id="19" creationId="{D42F4183-9BC8-4ACA-FB4E-660B4CC5AB30}"/>
          </ac:picMkLst>
        </pc:picChg>
        <pc:picChg chg="mod">
          <ac:chgData name="Stephanie Mattsson" userId="77fffe8b-8c64-4110-a56b-5eb7399c61b9" providerId="ADAL" clId="{77B27497-8CA6-8846-AF23-C01C91407B95}" dt="2022-04-19T13:07:11.515" v="2156" actId="14100"/>
          <ac:picMkLst>
            <pc:docMk/>
            <pc:sldMk cId="610412472" sldId="2701"/>
            <ac:picMk id="20" creationId="{7AFB2FC1-B186-C22F-3A80-6800190ACC0F}"/>
          </ac:picMkLst>
        </pc:picChg>
        <pc:picChg chg="mod">
          <ac:chgData name="Stephanie Mattsson" userId="77fffe8b-8c64-4110-a56b-5eb7399c61b9" providerId="ADAL" clId="{77B27497-8CA6-8846-AF23-C01C91407B95}" dt="2022-04-14T07:47:26.212" v="2027" actId="1036"/>
          <ac:picMkLst>
            <pc:docMk/>
            <pc:sldMk cId="610412472" sldId="2701"/>
            <ac:picMk id="25" creationId="{9DAAD98F-04E9-8616-6DCB-39C57B8BAFC8}"/>
          </ac:picMkLst>
        </pc:picChg>
        <pc:picChg chg="mod">
          <ac:chgData name="Stephanie Mattsson" userId="77fffe8b-8c64-4110-a56b-5eb7399c61b9" providerId="ADAL" clId="{77B27497-8CA6-8846-AF23-C01C91407B95}" dt="2022-04-14T07:47:26.212" v="2027" actId="1036"/>
          <ac:picMkLst>
            <pc:docMk/>
            <pc:sldMk cId="610412472" sldId="2701"/>
            <ac:picMk id="26" creationId="{47C2D619-6B13-D501-AA96-0FC2BD330743}"/>
          </ac:picMkLst>
        </pc:picChg>
        <pc:picChg chg="mod">
          <ac:chgData name="Stephanie Mattsson" userId="77fffe8b-8c64-4110-a56b-5eb7399c61b9" providerId="ADAL" clId="{77B27497-8CA6-8846-AF23-C01C91407B95}" dt="2022-04-14T07:48:39.994" v="2076" actId="1076"/>
          <ac:picMkLst>
            <pc:docMk/>
            <pc:sldMk cId="610412472" sldId="2701"/>
            <ac:picMk id="27" creationId="{D775F468-E72D-5F3A-A875-D4DFC7CE84B7}"/>
          </ac:picMkLst>
        </pc:picChg>
        <pc:picChg chg="mod">
          <ac:chgData name="Stephanie Mattsson" userId="77fffe8b-8c64-4110-a56b-5eb7399c61b9" providerId="ADAL" clId="{77B27497-8CA6-8846-AF23-C01C91407B95}" dt="2022-04-14T07:48:38.035" v="2075" actId="1076"/>
          <ac:picMkLst>
            <pc:docMk/>
            <pc:sldMk cId="610412472" sldId="2701"/>
            <ac:picMk id="28" creationId="{33A11EA4-52AC-B78A-3FAF-CBD6C765EA75}"/>
          </ac:picMkLst>
        </pc:picChg>
        <pc:picChg chg="mod">
          <ac:chgData name="Stephanie Mattsson" userId="77fffe8b-8c64-4110-a56b-5eb7399c61b9" providerId="ADAL" clId="{77B27497-8CA6-8846-AF23-C01C91407B95}" dt="2022-04-19T13:06:28.064" v="2153" actId="1076"/>
          <ac:picMkLst>
            <pc:docMk/>
            <pc:sldMk cId="610412472" sldId="2701"/>
            <ac:picMk id="30" creationId="{921A26A2-5B50-07BA-5C32-B46BBBA793C9}"/>
          </ac:picMkLst>
        </pc:picChg>
        <pc:cxnChg chg="mod">
          <ac:chgData name="Stephanie Mattsson" userId="77fffe8b-8c64-4110-a56b-5eb7399c61b9" providerId="ADAL" clId="{77B27497-8CA6-8846-AF23-C01C91407B95}" dt="2022-04-26T13:29:50.988" v="3028" actId="14100"/>
          <ac:cxnSpMkLst>
            <pc:docMk/>
            <pc:sldMk cId="610412472" sldId="2701"/>
            <ac:cxnSpMk id="6" creationId="{7ABC6C12-DED4-9E4D-9B51-6EE822064730}"/>
          </ac:cxnSpMkLst>
        </pc:cxnChg>
      </pc:sldChg>
      <pc:sldChg chg="del mod modShow">
        <pc:chgData name="Stephanie Mattsson" userId="77fffe8b-8c64-4110-a56b-5eb7399c61b9" providerId="ADAL" clId="{77B27497-8CA6-8846-AF23-C01C91407B95}" dt="2022-04-19T13:15:12.726" v="2196" actId="2696"/>
        <pc:sldMkLst>
          <pc:docMk/>
          <pc:sldMk cId="739508440" sldId="2702"/>
        </pc:sldMkLst>
      </pc:sldChg>
      <pc:sldChg chg="modSp add mod">
        <pc:chgData name="Stephanie Mattsson" userId="77fffe8b-8c64-4110-a56b-5eb7399c61b9" providerId="ADAL" clId="{77B27497-8CA6-8846-AF23-C01C91407B95}" dt="2022-04-19T13:10:32.708" v="2186" actId="1038"/>
        <pc:sldMkLst>
          <pc:docMk/>
          <pc:sldMk cId="2956438627" sldId="2703"/>
        </pc:sldMkLst>
        <pc:spChg chg="mod">
          <ac:chgData name="Stephanie Mattsson" userId="77fffe8b-8c64-4110-a56b-5eb7399c61b9" providerId="ADAL" clId="{77B27497-8CA6-8846-AF23-C01C91407B95}" dt="2022-04-19T13:10:16.137" v="2163" actId="207"/>
          <ac:spMkLst>
            <pc:docMk/>
            <pc:sldMk cId="2956438627" sldId="2703"/>
            <ac:spMk id="4" creationId="{75E66A11-5444-DF40-A311-75A5C09C4B33}"/>
          </ac:spMkLst>
        </pc:spChg>
        <pc:spChg chg="mod">
          <ac:chgData name="Stephanie Mattsson" userId="77fffe8b-8c64-4110-a56b-5eb7399c61b9" providerId="ADAL" clId="{77B27497-8CA6-8846-AF23-C01C91407B95}" dt="2022-04-19T13:10:32.708" v="2186" actId="1038"/>
          <ac:spMkLst>
            <pc:docMk/>
            <pc:sldMk cId="2956438627" sldId="2703"/>
            <ac:spMk id="6" creationId="{4CF8FBE2-87F3-EB42-9E95-EC91626F1181}"/>
          </ac:spMkLst>
        </pc:spChg>
        <pc:spChg chg="mod">
          <ac:chgData name="Stephanie Mattsson" userId="77fffe8b-8c64-4110-a56b-5eb7399c61b9" providerId="ADAL" clId="{77B27497-8CA6-8846-AF23-C01C91407B95}" dt="2022-04-19T13:10:32.708" v="2186" actId="1038"/>
          <ac:spMkLst>
            <pc:docMk/>
            <pc:sldMk cId="2956438627" sldId="2703"/>
            <ac:spMk id="7" creationId="{A39BB3C2-9C68-434B-BC0B-52E52EB3D733}"/>
          </ac:spMkLst>
        </pc:spChg>
        <pc:spChg chg="mod">
          <ac:chgData name="Stephanie Mattsson" userId="77fffe8b-8c64-4110-a56b-5eb7399c61b9" providerId="ADAL" clId="{77B27497-8CA6-8846-AF23-C01C91407B95}" dt="2022-04-19T13:10:32.708" v="2186" actId="1038"/>
          <ac:spMkLst>
            <pc:docMk/>
            <pc:sldMk cId="2956438627" sldId="2703"/>
            <ac:spMk id="8" creationId="{D9AEF7CE-7C7A-2742-8E1A-F02F570C27BE}"/>
          </ac:spMkLst>
        </pc:spChg>
        <pc:spChg chg="mod">
          <ac:chgData name="Stephanie Mattsson" userId="77fffe8b-8c64-4110-a56b-5eb7399c61b9" providerId="ADAL" clId="{77B27497-8CA6-8846-AF23-C01C91407B95}" dt="2022-04-19T13:10:10.685" v="2162" actId="208"/>
          <ac:spMkLst>
            <pc:docMk/>
            <pc:sldMk cId="2956438627" sldId="2703"/>
            <ac:spMk id="9" creationId="{A76A323D-D695-0242-9C02-1CE6727A679F}"/>
          </ac:spMkLst>
        </pc:spChg>
        <pc:spChg chg="mod">
          <ac:chgData name="Stephanie Mattsson" userId="77fffe8b-8c64-4110-a56b-5eb7399c61b9" providerId="ADAL" clId="{77B27497-8CA6-8846-AF23-C01C91407B95}" dt="2022-04-19T13:10:10.685" v="2162" actId="208"/>
          <ac:spMkLst>
            <pc:docMk/>
            <pc:sldMk cId="2956438627" sldId="2703"/>
            <ac:spMk id="10" creationId="{276B7FB9-24B8-814D-95E9-9DA219A65BAD}"/>
          </ac:spMkLst>
        </pc:spChg>
        <pc:spChg chg="mod">
          <ac:chgData name="Stephanie Mattsson" userId="77fffe8b-8c64-4110-a56b-5eb7399c61b9" providerId="ADAL" clId="{77B27497-8CA6-8846-AF23-C01C91407B95}" dt="2022-04-19T13:10:10.685" v="2162" actId="208"/>
          <ac:spMkLst>
            <pc:docMk/>
            <pc:sldMk cId="2956438627" sldId="2703"/>
            <ac:spMk id="11" creationId="{E4E57772-6F54-E24F-BC9E-6FF4F7B12BC0}"/>
          </ac:spMkLst>
        </pc:spChg>
        <pc:cxnChg chg="mod">
          <ac:chgData name="Stephanie Mattsson" userId="77fffe8b-8c64-4110-a56b-5eb7399c61b9" providerId="ADAL" clId="{77B27497-8CA6-8846-AF23-C01C91407B95}" dt="2022-04-19T13:10:10.685" v="2162" actId="208"/>
          <ac:cxnSpMkLst>
            <pc:docMk/>
            <pc:sldMk cId="2956438627" sldId="2703"/>
            <ac:cxnSpMk id="5" creationId="{91D76394-418D-6B4E-B41E-02747C3B7F07}"/>
          </ac:cxnSpMkLst>
        </pc:cxnChg>
      </pc:sldChg>
      <pc:sldChg chg="addSp delSp modSp del mod">
        <pc:chgData name="Stephanie Mattsson" userId="77fffe8b-8c64-4110-a56b-5eb7399c61b9" providerId="ADAL" clId="{77B27497-8CA6-8846-AF23-C01C91407B95}" dt="2022-04-26T12:54:40.349" v="2629" actId="2696"/>
        <pc:sldMkLst>
          <pc:docMk/>
          <pc:sldMk cId="3282791203" sldId="2704"/>
        </pc:sldMkLst>
        <pc:spChg chg="mod">
          <ac:chgData name="Stephanie Mattsson" userId="77fffe8b-8c64-4110-a56b-5eb7399c61b9" providerId="ADAL" clId="{77B27497-8CA6-8846-AF23-C01C91407B95}" dt="2022-04-26T11:54:41.819" v="2249" actId="13926"/>
          <ac:spMkLst>
            <pc:docMk/>
            <pc:sldMk cId="3282791203" sldId="2704"/>
            <ac:spMk id="5" creationId="{C17C3673-D034-2A46-9A3A-CB8D8574FB76}"/>
          </ac:spMkLst>
        </pc:spChg>
        <pc:spChg chg="mod">
          <ac:chgData name="Stephanie Mattsson" userId="77fffe8b-8c64-4110-a56b-5eb7399c61b9" providerId="ADAL" clId="{77B27497-8CA6-8846-AF23-C01C91407B95}" dt="2022-04-26T11:53:07.501" v="2239" actId="790"/>
          <ac:spMkLst>
            <pc:docMk/>
            <pc:sldMk cId="3282791203" sldId="2704"/>
            <ac:spMk id="58" creationId="{FBE9B74A-7327-A545-800C-67B2E48887B9}"/>
          </ac:spMkLst>
        </pc:spChg>
        <pc:spChg chg="del">
          <ac:chgData name="Stephanie Mattsson" userId="77fffe8b-8c64-4110-a56b-5eb7399c61b9" providerId="ADAL" clId="{77B27497-8CA6-8846-AF23-C01C91407B95}" dt="2022-04-26T11:49:17.587" v="2206" actId="478"/>
          <ac:spMkLst>
            <pc:docMk/>
            <pc:sldMk cId="3282791203" sldId="2704"/>
            <ac:spMk id="66" creationId="{80E403B5-ABEE-D247-B891-C5291A3C324E}"/>
          </ac:spMkLst>
        </pc:spChg>
        <pc:spChg chg="mod">
          <ac:chgData name="Stephanie Mattsson" userId="77fffe8b-8c64-4110-a56b-5eb7399c61b9" providerId="ADAL" clId="{77B27497-8CA6-8846-AF23-C01C91407B95}" dt="2022-04-26T11:57:08.230" v="2250" actId="14100"/>
          <ac:spMkLst>
            <pc:docMk/>
            <pc:sldMk cId="3282791203" sldId="2704"/>
            <ac:spMk id="75" creationId="{A5465850-60BE-104D-9E3A-2D5159E7FE2F}"/>
          </ac:spMkLst>
        </pc:spChg>
        <pc:spChg chg="mod">
          <ac:chgData name="Stephanie Mattsson" userId="77fffe8b-8c64-4110-a56b-5eb7399c61b9" providerId="ADAL" clId="{77B27497-8CA6-8846-AF23-C01C91407B95}" dt="2022-04-26T11:54:18.069" v="2248" actId="1036"/>
          <ac:spMkLst>
            <pc:docMk/>
            <pc:sldMk cId="3282791203" sldId="2704"/>
            <ac:spMk id="150" creationId="{9678B72A-0E4E-8946-A8C6-8ED1530570C6}"/>
          </ac:spMkLst>
        </pc:spChg>
        <pc:spChg chg="mod">
          <ac:chgData name="Stephanie Mattsson" userId="77fffe8b-8c64-4110-a56b-5eb7399c61b9" providerId="ADAL" clId="{77B27497-8CA6-8846-AF23-C01C91407B95}" dt="2022-04-26T11:52:13.276" v="2220" actId="14100"/>
          <ac:spMkLst>
            <pc:docMk/>
            <pc:sldMk cId="3282791203" sldId="2704"/>
            <ac:spMk id="151" creationId="{C098B728-F30A-DB43-BB49-0789BCE1969F}"/>
          </ac:spMkLst>
        </pc:spChg>
        <pc:cxnChg chg="add mod">
          <ac:chgData name="Stephanie Mattsson" userId="77fffe8b-8c64-4110-a56b-5eb7399c61b9" providerId="ADAL" clId="{77B27497-8CA6-8846-AF23-C01C91407B95}" dt="2022-04-26T11:54:18.069" v="2248" actId="1036"/>
          <ac:cxnSpMkLst>
            <pc:docMk/>
            <pc:sldMk cId="3282791203" sldId="2704"/>
            <ac:cxnSpMk id="9" creationId="{FA1C22E8-05E1-55A3-06AB-0B15023AD942}"/>
          </ac:cxnSpMkLst>
        </pc:cxnChg>
        <pc:cxnChg chg="mod">
          <ac:chgData name="Stephanie Mattsson" userId="77fffe8b-8c64-4110-a56b-5eb7399c61b9" providerId="ADAL" clId="{77B27497-8CA6-8846-AF23-C01C91407B95}" dt="2022-04-26T11:50:01.081" v="2207" actId="14100"/>
          <ac:cxnSpMkLst>
            <pc:docMk/>
            <pc:sldMk cId="3282791203" sldId="2704"/>
            <ac:cxnSpMk id="61" creationId="{AB905137-351B-CF4C-A927-785953744242}"/>
          </ac:cxnSpMkLst>
        </pc:cxnChg>
        <pc:cxnChg chg="mod">
          <ac:chgData name="Stephanie Mattsson" userId="77fffe8b-8c64-4110-a56b-5eb7399c61b9" providerId="ADAL" clId="{77B27497-8CA6-8846-AF23-C01C91407B95}" dt="2022-04-26T11:50:22.978" v="2209" actId="14100"/>
          <ac:cxnSpMkLst>
            <pc:docMk/>
            <pc:sldMk cId="3282791203" sldId="2704"/>
            <ac:cxnSpMk id="62" creationId="{D99ACF8E-E9B6-264D-8BB3-BB0CAC70F184}"/>
          </ac:cxnSpMkLst>
        </pc:cxnChg>
        <pc:cxnChg chg="del mod">
          <ac:chgData name="Stephanie Mattsson" userId="77fffe8b-8c64-4110-a56b-5eb7399c61b9" providerId="ADAL" clId="{77B27497-8CA6-8846-AF23-C01C91407B95}" dt="2022-04-26T11:50:37.499" v="2210" actId="478"/>
          <ac:cxnSpMkLst>
            <pc:docMk/>
            <pc:sldMk cId="3282791203" sldId="2704"/>
            <ac:cxnSpMk id="89" creationId="{6B661C22-D728-5C41-AED4-163D7528D73F}"/>
          </ac:cxnSpMkLst>
        </pc:cxnChg>
        <pc:cxnChg chg="mod">
          <ac:chgData name="Stephanie Mattsson" userId="77fffe8b-8c64-4110-a56b-5eb7399c61b9" providerId="ADAL" clId="{77B27497-8CA6-8846-AF23-C01C91407B95}" dt="2022-04-26T11:52:13.276" v="2220" actId="14100"/>
          <ac:cxnSpMkLst>
            <pc:docMk/>
            <pc:sldMk cId="3282791203" sldId="2704"/>
            <ac:cxnSpMk id="93" creationId="{FA8DDE45-8B11-0A42-968D-EC00F033F593}"/>
          </ac:cxnSpMkLst>
        </pc:cxnChg>
        <pc:cxnChg chg="mod">
          <ac:chgData name="Stephanie Mattsson" userId="77fffe8b-8c64-4110-a56b-5eb7399c61b9" providerId="ADAL" clId="{77B27497-8CA6-8846-AF23-C01C91407B95}" dt="2022-04-26T11:52:04.854" v="2219" actId="167"/>
          <ac:cxnSpMkLst>
            <pc:docMk/>
            <pc:sldMk cId="3282791203" sldId="2704"/>
            <ac:cxnSpMk id="10263" creationId="{C6F43877-ADA4-2F40-94DC-833B6794AFCB}"/>
          </ac:cxnSpMkLst>
        </pc:cxnChg>
      </pc:sldChg>
      <pc:sldChg chg="addSp delSp modSp add del mod addCm">
        <pc:chgData name="Stephanie Mattsson" userId="77fffe8b-8c64-4110-a56b-5eb7399c61b9" providerId="ADAL" clId="{77B27497-8CA6-8846-AF23-C01C91407B95}" dt="2022-04-26T12:57:52.572" v="2724" actId="2696"/>
        <pc:sldMkLst>
          <pc:docMk/>
          <pc:sldMk cId="83408938" sldId="2705"/>
        </pc:sldMkLst>
        <pc:spChg chg="mod">
          <ac:chgData name="Stephanie Mattsson" userId="77fffe8b-8c64-4110-a56b-5eb7399c61b9" providerId="ADAL" clId="{77B27497-8CA6-8846-AF23-C01C91407B95}" dt="2022-04-26T12:51:30.552" v="2601" actId="1036"/>
          <ac:spMkLst>
            <pc:docMk/>
            <pc:sldMk cId="83408938" sldId="2705"/>
            <ac:spMk id="4" creationId="{7C6A233E-1FA7-D04B-8812-C19A957C93CD}"/>
          </ac:spMkLst>
        </pc:spChg>
        <pc:spChg chg="del">
          <ac:chgData name="Stephanie Mattsson" userId="77fffe8b-8c64-4110-a56b-5eb7399c61b9" providerId="ADAL" clId="{77B27497-8CA6-8846-AF23-C01C91407B95}" dt="2022-04-26T11:57:28.649" v="2252" actId="478"/>
          <ac:spMkLst>
            <pc:docMk/>
            <pc:sldMk cId="83408938" sldId="2705"/>
            <ac:spMk id="5" creationId="{C17C3673-D034-2A46-9A3A-CB8D8574FB76}"/>
          </ac:spMkLst>
        </pc:spChg>
        <pc:spChg chg="add del mod">
          <ac:chgData name="Stephanie Mattsson" userId="77fffe8b-8c64-4110-a56b-5eb7399c61b9" providerId="ADAL" clId="{77B27497-8CA6-8846-AF23-C01C91407B95}" dt="2022-04-26T12:50:54.208" v="2569"/>
          <ac:spMkLst>
            <pc:docMk/>
            <pc:sldMk cId="83408938" sldId="2705"/>
            <ac:spMk id="11" creationId="{66536D2E-B15D-15A3-33C2-51B96300A1AD}"/>
          </ac:spMkLst>
        </pc:spChg>
        <pc:spChg chg="mod">
          <ac:chgData name="Stephanie Mattsson" userId="77fffe8b-8c64-4110-a56b-5eb7399c61b9" providerId="ADAL" clId="{77B27497-8CA6-8846-AF23-C01C91407B95}" dt="2022-04-26T12:51:30.552" v="2601" actId="1036"/>
          <ac:spMkLst>
            <pc:docMk/>
            <pc:sldMk cId="83408938" sldId="2705"/>
            <ac:spMk id="53" creationId="{D99A50ED-1BF4-1747-B1B6-FF8D31E81365}"/>
          </ac:spMkLst>
        </pc:spChg>
        <pc:spChg chg="mod">
          <ac:chgData name="Stephanie Mattsson" userId="77fffe8b-8c64-4110-a56b-5eb7399c61b9" providerId="ADAL" clId="{77B27497-8CA6-8846-AF23-C01C91407B95}" dt="2022-04-26T12:51:30.552" v="2601" actId="1036"/>
          <ac:spMkLst>
            <pc:docMk/>
            <pc:sldMk cId="83408938" sldId="2705"/>
            <ac:spMk id="55" creationId="{6967590D-F8C9-9844-90D3-F6162B59465A}"/>
          </ac:spMkLst>
        </pc:spChg>
        <pc:spChg chg="mod">
          <ac:chgData name="Stephanie Mattsson" userId="77fffe8b-8c64-4110-a56b-5eb7399c61b9" providerId="ADAL" clId="{77B27497-8CA6-8846-AF23-C01C91407B95}" dt="2022-04-26T12:51:30.552" v="2601" actId="1036"/>
          <ac:spMkLst>
            <pc:docMk/>
            <pc:sldMk cId="83408938" sldId="2705"/>
            <ac:spMk id="58" creationId="{FBE9B74A-7327-A545-800C-67B2E48887B9}"/>
          </ac:spMkLst>
        </pc:spChg>
        <pc:spChg chg="mod">
          <ac:chgData name="Stephanie Mattsson" userId="77fffe8b-8c64-4110-a56b-5eb7399c61b9" providerId="ADAL" clId="{77B27497-8CA6-8846-AF23-C01C91407B95}" dt="2022-04-26T12:51:30.552" v="2601" actId="1036"/>
          <ac:spMkLst>
            <pc:docMk/>
            <pc:sldMk cId="83408938" sldId="2705"/>
            <ac:spMk id="60" creationId="{546E57BF-008A-6A49-B1DC-E079C7D576F4}"/>
          </ac:spMkLst>
        </pc:spChg>
        <pc:spChg chg="add del mod">
          <ac:chgData name="Stephanie Mattsson" userId="77fffe8b-8c64-4110-a56b-5eb7399c61b9" providerId="ADAL" clId="{77B27497-8CA6-8846-AF23-C01C91407B95}" dt="2022-04-26T11:58:38.713" v="2398" actId="478"/>
          <ac:spMkLst>
            <pc:docMk/>
            <pc:sldMk cId="83408938" sldId="2705"/>
            <ac:spMk id="64" creationId="{C3D10EF4-8730-B833-A677-58FE9F8BC2DF}"/>
          </ac:spMkLst>
        </pc:spChg>
        <pc:spChg chg="add mod">
          <ac:chgData name="Stephanie Mattsson" userId="77fffe8b-8c64-4110-a56b-5eb7399c61b9" providerId="ADAL" clId="{77B27497-8CA6-8846-AF23-C01C91407B95}" dt="2022-04-26T12:55:07.550" v="2631" actId="20577"/>
          <ac:spMkLst>
            <pc:docMk/>
            <pc:sldMk cId="83408938" sldId="2705"/>
            <ac:spMk id="65" creationId="{DAFE5191-8869-8304-4B6E-E254F46539FD}"/>
          </ac:spMkLst>
        </pc:spChg>
        <pc:spChg chg="mod">
          <ac:chgData name="Stephanie Mattsson" userId="77fffe8b-8c64-4110-a56b-5eb7399c61b9" providerId="ADAL" clId="{77B27497-8CA6-8846-AF23-C01C91407B95}" dt="2022-04-26T12:51:30.552" v="2601" actId="1036"/>
          <ac:spMkLst>
            <pc:docMk/>
            <pc:sldMk cId="83408938" sldId="2705"/>
            <ac:spMk id="68" creationId="{98647605-5B0C-0340-8D71-23339F985CE9}"/>
          </ac:spMkLst>
        </pc:spChg>
        <pc:spChg chg="mod">
          <ac:chgData name="Stephanie Mattsson" userId="77fffe8b-8c64-4110-a56b-5eb7399c61b9" providerId="ADAL" clId="{77B27497-8CA6-8846-AF23-C01C91407B95}" dt="2022-04-26T12:51:30.552" v="2601" actId="1036"/>
          <ac:spMkLst>
            <pc:docMk/>
            <pc:sldMk cId="83408938" sldId="2705"/>
            <ac:spMk id="69" creationId="{CAC63E15-4DD7-2949-A9BD-CB9B2414315C}"/>
          </ac:spMkLst>
        </pc:spChg>
        <pc:spChg chg="mod">
          <ac:chgData name="Stephanie Mattsson" userId="77fffe8b-8c64-4110-a56b-5eb7399c61b9" providerId="ADAL" clId="{77B27497-8CA6-8846-AF23-C01C91407B95}" dt="2022-04-26T12:51:30.552" v="2601" actId="1036"/>
          <ac:spMkLst>
            <pc:docMk/>
            <pc:sldMk cId="83408938" sldId="2705"/>
            <ac:spMk id="70" creationId="{E8E510CC-D6AA-CA45-8B34-576047CD592F}"/>
          </ac:spMkLst>
        </pc:spChg>
        <pc:spChg chg="mod">
          <ac:chgData name="Stephanie Mattsson" userId="77fffe8b-8c64-4110-a56b-5eb7399c61b9" providerId="ADAL" clId="{77B27497-8CA6-8846-AF23-C01C91407B95}" dt="2022-04-26T12:51:30.552" v="2601" actId="1036"/>
          <ac:spMkLst>
            <pc:docMk/>
            <pc:sldMk cId="83408938" sldId="2705"/>
            <ac:spMk id="71" creationId="{9DED6606-68C2-EF4C-8CE1-9E73854774D3}"/>
          </ac:spMkLst>
        </pc:spChg>
        <pc:spChg chg="mod">
          <ac:chgData name="Stephanie Mattsson" userId="77fffe8b-8c64-4110-a56b-5eb7399c61b9" providerId="ADAL" clId="{77B27497-8CA6-8846-AF23-C01C91407B95}" dt="2022-04-26T12:51:30.552" v="2601" actId="1036"/>
          <ac:spMkLst>
            <pc:docMk/>
            <pc:sldMk cId="83408938" sldId="2705"/>
            <ac:spMk id="72" creationId="{DAADC672-F136-B04C-B872-E7771CD32584}"/>
          </ac:spMkLst>
        </pc:spChg>
        <pc:spChg chg="mod">
          <ac:chgData name="Stephanie Mattsson" userId="77fffe8b-8c64-4110-a56b-5eb7399c61b9" providerId="ADAL" clId="{77B27497-8CA6-8846-AF23-C01C91407B95}" dt="2022-04-26T12:51:30.552" v="2601" actId="1036"/>
          <ac:spMkLst>
            <pc:docMk/>
            <pc:sldMk cId="83408938" sldId="2705"/>
            <ac:spMk id="73" creationId="{F82F2127-BEAD-2749-BCC2-A8AEF17106E8}"/>
          </ac:spMkLst>
        </pc:spChg>
        <pc:spChg chg="mod">
          <ac:chgData name="Stephanie Mattsson" userId="77fffe8b-8c64-4110-a56b-5eb7399c61b9" providerId="ADAL" clId="{77B27497-8CA6-8846-AF23-C01C91407B95}" dt="2022-04-26T12:51:48.632" v="2603" actId="1038"/>
          <ac:spMkLst>
            <pc:docMk/>
            <pc:sldMk cId="83408938" sldId="2705"/>
            <ac:spMk id="75" creationId="{A5465850-60BE-104D-9E3A-2D5159E7FE2F}"/>
          </ac:spMkLst>
        </pc:spChg>
        <pc:spChg chg="mod">
          <ac:chgData name="Stephanie Mattsson" userId="77fffe8b-8c64-4110-a56b-5eb7399c61b9" providerId="ADAL" clId="{77B27497-8CA6-8846-AF23-C01C91407B95}" dt="2022-04-26T12:51:30.552" v="2601" actId="1036"/>
          <ac:spMkLst>
            <pc:docMk/>
            <pc:sldMk cId="83408938" sldId="2705"/>
            <ac:spMk id="149" creationId="{0F100644-7DAB-D943-960D-A5A096E0E9C2}"/>
          </ac:spMkLst>
        </pc:spChg>
        <pc:spChg chg="mod">
          <ac:chgData name="Stephanie Mattsson" userId="77fffe8b-8c64-4110-a56b-5eb7399c61b9" providerId="ADAL" clId="{77B27497-8CA6-8846-AF23-C01C91407B95}" dt="2022-04-26T12:51:30.552" v="2601" actId="1036"/>
          <ac:spMkLst>
            <pc:docMk/>
            <pc:sldMk cId="83408938" sldId="2705"/>
            <ac:spMk id="150" creationId="{9678B72A-0E4E-8946-A8C6-8ED1530570C6}"/>
          </ac:spMkLst>
        </pc:spChg>
        <pc:spChg chg="mod">
          <ac:chgData name="Stephanie Mattsson" userId="77fffe8b-8c64-4110-a56b-5eb7399c61b9" providerId="ADAL" clId="{77B27497-8CA6-8846-AF23-C01C91407B95}" dt="2022-04-26T12:51:30.552" v="2601" actId="1036"/>
          <ac:spMkLst>
            <pc:docMk/>
            <pc:sldMk cId="83408938" sldId="2705"/>
            <ac:spMk id="151" creationId="{C098B728-F30A-DB43-BB49-0789BCE1969F}"/>
          </ac:spMkLst>
        </pc:spChg>
        <pc:spChg chg="mod">
          <ac:chgData name="Stephanie Mattsson" userId="77fffe8b-8c64-4110-a56b-5eb7399c61b9" providerId="ADAL" clId="{77B27497-8CA6-8846-AF23-C01C91407B95}" dt="2022-04-26T12:51:30.552" v="2601" actId="1036"/>
          <ac:spMkLst>
            <pc:docMk/>
            <pc:sldMk cId="83408938" sldId="2705"/>
            <ac:spMk id="10259" creationId="{2AC7689B-D4C2-2F41-A841-487CEBF532A8}"/>
          </ac:spMkLst>
        </pc:spChg>
        <pc:grpChg chg="mod">
          <ac:chgData name="Stephanie Mattsson" userId="77fffe8b-8c64-4110-a56b-5eb7399c61b9" providerId="ADAL" clId="{77B27497-8CA6-8846-AF23-C01C91407B95}" dt="2022-04-26T12:51:30.552" v="2601" actId="1036"/>
          <ac:grpSpMkLst>
            <pc:docMk/>
            <pc:sldMk cId="83408938" sldId="2705"/>
            <ac:grpSpMk id="10" creationId="{D732700D-A858-9D42-BFA3-DDC39289D819}"/>
          </ac:grpSpMkLst>
        </pc:grpChg>
        <pc:grpChg chg="mod">
          <ac:chgData name="Stephanie Mattsson" userId="77fffe8b-8c64-4110-a56b-5eb7399c61b9" providerId="ADAL" clId="{77B27497-8CA6-8846-AF23-C01C91407B95}" dt="2022-04-26T12:51:30.552" v="2601" actId="1036"/>
          <ac:grpSpMkLst>
            <pc:docMk/>
            <pc:sldMk cId="83408938" sldId="2705"/>
            <ac:grpSpMk id="51" creationId="{9F3873D0-96B8-154A-A9D5-FE9833F0022B}"/>
          </ac:grpSpMkLst>
        </pc:grpChg>
        <pc:graphicFrameChg chg="mod">
          <ac:chgData name="Stephanie Mattsson" userId="77fffe8b-8c64-4110-a56b-5eb7399c61b9" providerId="ADAL" clId="{77B27497-8CA6-8846-AF23-C01C91407B95}" dt="2022-04-26T12:51:30.552" v="2601" actId="1036"/>
          <ac:graphicFrameMkLst>
            <pc:docMk/>
            <pc:sldMk cId="83408938" sldId="2705"/>
            <ac:graphicFrameMk id="67" creationId="{5EC13A84-3F73-E746-BEDF-AE26F88FD84D}"/>
          </ac:graphicFrameMkLst>
        </pc:graphicFrameChg>
        <pc:picChg chg="mod">
          <ac:chgData name="Stephanie Mattsson" userId="77fffe8b-8c64-4110-a56b-5eb7399c61b9" providerId="ADAL" clId="{77B27497-8CA6-8846-AF23-C01C91407B95}" dt="2022-04-26T12:51:30.552" v="2601" actId="1036"/>
          <ac:picMkLst>
            <pc:docMk/>
            <pc:sldMk cId="83408938" sldId="2705"/>
            <ac:picMk id="12" creationId="{9AEACF0E-F1B9-C64B-BB76-301512F83F51}"/>
          </ac:picMkLst>
        </pc:picChg>
        <pc:picChg chg="mod">
          <ac:chgData name="Stephanie Mattsson" userId="77fffe8b-8c64-4110-a56b-5eb7399c61b9" providerId="ADAL" clId="{77B27497-8CA6-8846-AF23-C01C91407B95}" dt="2022-04-26T12:51:30.552" v="2601" actId="1036"/>
          <ac:picMkLst>
            <pc:docMk/>
            <pc:sldMk cId="83408938" sldId="2705"/>
            <ac:picMk id="13" creationId="{6855B6E9-FAA7-E44A-A8C6-6E0D2D33DF75}"/>
          </ac:picMkLst>
        </pc:picChg>
        <pc:picChg chg="mod">
          <ac:chgData name="Stephanie Mattsson" userId="77fffe8b-8c64-4110-a56b-5eb7399c61b9" providerId="ADAL" clId="{77B27497-8CA6-8846-AF23-C01C91407B95}" dt="2022-04-26T12:51:30.552" v="2601" actId="1036"/>
          <ac:picMkLst>
            <pc:docMk/>
            <pc:sldMk cId="83408938" sldId="2705"/>
            <ac:picMk id="14" creationId="{CF6B38C6-FC2E-124C-B475-7479C909D4CA}"/>
          </ac:picMkLst>
        </pc:picChg>
        <pc:picChg chg="mod">
          <ac:chgData name="Stephanie Mattsson" userId="77fffe8b-8c64-4110-a56b-5eb7399c61b9" providerId="ADAL" clId="{77B27497-8CA6-8846-AF23-C01C91407B95}" dt="2022-04-26T12:51:30.552" v="2601" actId="1036"/>
          <ac:picMkLst>
            <pc:docMk/>
            <pc:sldMk cId="83408938" sldId="2705"/>
            <ac:picMk id="20" creationId="{2EA5A782-3E86-9E4B-A10D-52DD46893DA0}"/>
          </ac:picMkLst>
        </pc:picChg>
        <pc:picChg chg="mod">
          <ac:chgData name="Stephanie Mattsson" userId="77fffe8b-8c64-4110-a56b-5eb7399c61b9" providerId="ADAL" clId="{77B27497-8CA6-8846-AF23-C01C91407B95}" dt="2022-04-26T12:51:30.552" v="2601" actId="1036"/>
          <ac:picMkLst>
            <pc:docMk/>
            <pc:sldMk cId="83408938" sldId="2705"/>
            <ac:picMk id="21" creationId="{750927E8-ADAA-8E46-B5C9-CE5490242712}"/>
          </ac:picMkLst>
        </pc:picChg>
        <pc:picChg chg="mod">
          <ac:chgData name="Stephanie Mattsson" userId="77fffe8b-8c64-4110-a56b-5eb7399c61b9" providerId="ADAL" clId="{77B27497-8CA6-8846-AF23-C01C91407B95}" dt="2022-04-26T12:51:30.552" v="2601" actId="1036"/>
          <ac:picMkLst>
            <pc:docMk/>
            <pc:sldMk cId="83408938" sldId="2705"/>
            <ac:picMk id="22" creationId="{BB85DB49-85C8-0C4B-9860-BCAFE1C4D741}"/>
          </ac:picMkLst>
        </pc:picChg>
        <pc:picChg chg="mod">
          <ac:chgData name="Stephanie Mattsson" userId="77fffe8b-8c64-4110-a56b-5eb7399c61b9" providerId="ADAL" clId="{77B27497-8CA6-8846-AF23-C01C91407B95}" dt="2022-04-26T12:51:30.552" v="2601" actId="1036"/>
          <ac:picMkLst>
            <pc:docMk/>
            <pc:sldMk cId="83408938" sldId="2705"/>
            <ac:picMk id="23" creationId="{1CC8C004-9D8A-5144-A5F8-7FAF193492C4}"/>
          </ac:picMkLst>
        </pc:picChg>
        <pc:picChg chg="mod">
          <ac:chgData name="Stephanie Mattsson" userId="77fffe8b-8c64-4110-a56b-5eb7399c61b9" providerId="ADAL" clId="{77B27497-8CA6-8846-AF23-C01C91407B95}" dt="2022-04-26T12:51:30.552" v="2601" actId="1036"/>
          <ac:picMkLst>
            <pc:docMk/>
            <pc:sldMk cId="83408938" sldId="2705"/>
            <ac:picMk id="24" creationId="{B3244B08-A506-D148-B64A-48FD09F67FFF}"/>
          </ac:picMkLst>
        </pc:picChg>
        <pc:picChg chg="mod">
          <ac:chgData name="Stephanie Mattsson" userId="77fffe8b-8c64-4110-a56b-5eb7399c61b9" providerId="ADAL" clId="{77B27497-8CA6-8846-AF23-C01C91407B95}" dt="2022-04-26T12:51:30.552" v="2601" actId="1036"/>
          <ac:picMkLst>
            <pc:docMk/>
            <pc:sldMk cId="83408938" sldId="2705"/>
            <ac:picMk id="25" creationId="{8778531E-4EA1-D845-89DF-4622E69E3EB4}"/>
          </ac:picMkLst>
        </pc:picChg>
        <pc:picChg chg="mod">
          <ac:chgData name="Stephanie Mattsson" userId="77fffe8b-8c64-4110-a56b-5eb7399c61b9" providerId="ADAL" clId="{77B27497-8CA6-8846-AF23-C01C91407B95}" dt="2022-04-26T12:51:30.552" v="2601" actId="1036"/>
          <ac:picMkLst>
            <pc:docMk/>
            <pc:sldMk cId="83408938" sldId="2705"/>
            <ac:picMk id="26" creationId="{6B0EF2C4-CD20-C846-A759-34F2F3614AA7}"/>
          </ac:picMkLst>
        </pc:picChg>
        <pc:picChg chg="mod">
          <ac:chgData name="Stephanie Mattsson" userId="77fffe8b-8c64-4110-a56b-5eb7399c61b9" providerId="ADAL" clId="{77B27497-8CA6-8846-AF23-C01C91407B95}" dt="2022-04-26T12:51:30.552" v="2601" actId="1036"/>
          <ac:picMkLst>
            <pc:docMk/>
            <pc:sldMk cId="83408938" sldId="2705"/>
            <ac:picMk id="27" creationId="{D92A2765-248D-854F-8FC0-F5332E46F4AF}"/>
          </ac:picMkLst>
        </pc:picChg>
        <pc:picChg chg="mod">
          <ac:chgData name="Stephanie Mattsson" userId="77fffe8b-8c64-4110-a56b-5eb7399c61b9" providerId="ADAL" clId="{77B27497-8CA6-8846-AF23-C01C91407B95}" dt="2022-04-26T12:51:30.552" v="2601" actId="1036"/>
          <ac:picMkLst>
            <pc:docMk/>
            <pc:sldMk cId="83408938" sldId="2705"/>
            <ac:picMk id="28" creationId="{9B641675-90B6-E64B-ADB4-68ACDA9B3428}"/>
          </ac:picMkLst>
        </pc:picChg>
        <pc:picChg chg="mod">
          <ac:chgData name="Stephanie Mattsson" userId="77fffe8b-8c64-4110-a56b-5eb7399c61b9" providerId="ADAL" clId="{77B27497-8CA6-8846-AF23-C01C91407B95}" dt="2022-04-26T12:51:30.552" v="2601" actId="1036"/>
          <ac:picMkLst>
            <pc:docMk/>
            <pc:sldMk cId="83408938" sldId="2705"/>
            <ac:picMk id="29" creationId="{A90C116B-7855-004D-855C-7A599A4347FD}"/>
          </ac:picMkLst>
        </pc:picChg>
        <pc:picChg chg="mod">
          <ac:chgData name="Stephanie Mattsson" userId="77fffe8b-8c64-4110-a56b-5eb7399c61b9" providerId="ADAL" clId="{77B27497-8CA6-8846-AF23-C01C91407B95}" dt="2022-04-26T12:51:30.552" v="2601" actId="1036"/>
          <ac:picMkLst>
            <pc:docMk/>
            <pc:sldMk cId="83408938" sldId="2705"/>
            <ac:picMk id="30" creationId="{FAFB4F2C-F770-534D-B267-2EA2D9F7560B}"/>
          </ac:picMkLst>
        </pc:picChg>
        <pc:picChg chg="mod">
          <ac:chgData name="Stephanie Mattsson" userId="77fffe8b-8c64-4110-a56b-5eb7399c61b9" providerId="ADAL" clId="{77B27497-8CA6-8846-AF23-C01C91407B95}" dt="2022-04-26T12:51:30.552" v="2601" actId="1036"/>
          <ac:picMkLst>
            <pc:docMk/>
            <pc:sldMk cId="83408938" sldId="2705"/>
            <ac:picMk id="31" creationId="{2ED15B16-F4E6-0B47-8605-ACE0A8AE881E}"/>
          </ac:picMkLst>
        </pc:picChg>
        <pc:picChg chg="mod">
          <ac:chgData name="Stephanie Mattsson" userId="77fffe8b-8c64-4110-a56b-5eb7399c61b9" providerId="ADAL" clId="{77B27497-8CA6-8846-AF23-C01C91407B95}" dt="2022-04-26T12:51:30.552" v="2601" actId="1036"/>
          <ac:picMkLst>
            <pc:docMk/>
            <pc:sldMk cId="83408938" sldId="2705"/>
            <ac:picMk id="32" creationId="{94A2715B-38F2-554B-A349-B5765EC2A780}"/>
          </ac:picMkLst>
        </pc:picChg>
        <pc:picChg chg="mod">
          <ac:chgData name="Stephanie Mattsson" userId="77fffe8b-8c64-4110-a56b-5eb7399c61b9" providerId="ADAL" clId="{77B27497-8CA6-8846-AF23-C01C91407B95}" dt="2022-04-26T12:51:30.552" v="2601" actId="1036"/>
          <ac:picMkLst>
            <pc:docMk/>
            <pc:sldMk cId="83408938" sldId="2705"/>
            <ac:picMk id="34" creationId="{1C6BC73F-EAC0-7C4B-9815-0E652C1F1B03}"/>
          </ac:picMkLst>
        </pc:picChg>
        <pc:picChg chg="mod">
          <ac:chgData name="Stephanie Mattsson" userId="77fffe8b-8c64-4110-a56b-5eb7399c61b9" providerId="ADAL" clId="{77B27497-8CA6-8846-AF23-C01C91407B95}" dt="2022-04-26T12:51:30.552" v="2601" actId="1036"/>
          <ac:picMkLst>
            <pc:docMk/>
            <pc:sldMk cId="83408938" sldId="2705"/>
            <ac:picMk id="35" creationId="{886490CC-C2C5-AC4A-BEB3-FBE52097EBB2}"/>
          </ac:picMkLst>
        </pc:picChg>
        <pc:picChg chg="mod">
          <ac:chgData name="Stephanie Mattsson" userId="77fffe8b-8c64-4110-a56b-5eb7399c61b9" providerId="ADAL" clId="{77B27497-8CA6-8846-AF23-C01C91407B95}" dt="2022-04-26T12:51:30.552" v="2601" actId="1036"/>
          <ac:picMkLst>
            <pc:docMk/>
            <pc:sldMk cId="83408938" sldId="2705"/>
            <ac:picMk id="36" creationId="{2C9ED7AD-80A1-7F49-B66F-C168C2067B1A}"/>
          </ac:picMkLst>
        </pc:picChg>
        <pc:picChg chg="mod">
          <ac:chgData name="Stephanie Mattsson" userId="77fffe8b-8c64-4110-a56b-5eb7399c61b9" providerId="ADAL" clId="{77B27497-8CA6-8846-AF23-C01C91407B95}" dt="2022-04-26T12:51:30.552" v="2601" actId="1036"/>
          <ac:picMkLst>
            <pc:docMk/>
            <pc:sldMk cId="83408938" sldId="2705"/>
            <ac:picMk id="37" creationId="{7B62EED2-19F1-CA49-885E-85A2BF561493}"/>
          </ac:picMkLst>
        </pc:picChg>
        <pc:picChg chg="mod">
          <ac:chgData name="Stephanie Mattsson" userId="77fffe8b-8c64-4110-a56b-5eb7399c61b9" providerId="ADAL" clId="{77B27497-8CA6-8846-AF23-C01C91407B95}" dt="2022-04-26T12:51:30.552" v="2601" actId="1036"/>
          <ac:picMkLst>
            <pc:docMk/>
            <pc:sldMk cId="83408938" sldId="2705"/>
            <ac:picMk id="38" creationId="{DCD09EF8-8D88-B94A-B5E9-002EF39E21F4}"/>
          </ac:picMkLst>
        </pc:picChg>
        <pc:picChg chg="mod">
          <ac:chgData name="Stephanie Mattsson" userId="77fffe8b-8c64-4110-a56b-5eb7399c61b9" providerId="ADAL" clId="{77B27497-8CA6-8846-AF23-C01C91407B95}" dt="2022-04-26T12:51:30.552" v="2601" actId="1036"/>
          <ac:picMkLst>
            <pc:docMk/>
            <pc:sldMk cId="83408938" sldId="2705"/>
            <ac:picMk id="40" creationId="{36E1E9DA-8098-704E-AEA1-90A63F86D664}"/>
          </ac:picMkLst>
        </pc:picChg>
        <pc:picChg chg="mod">
          <ac:chgData name="Stephanie Mattsson" userId="77fffe8b-8c64-4110-a56b-5eb7399c61b9" providerId="ADAL" clId="{77B27497-8CA6-8846-AF23-C01C91407B95}" dt="2022-04-26T12:51:30.552" v="2601" actId="1036"/>
          <ac:picMkLst>
            <pc:docMk/>
            <pc:sldMk cId="83408938" sldId="2705"/>
            <ac:picMk id="41" creationId="{4919FEF4-1752-CF4E-AECD-CCD8228B0BB3}"/>
          </ac:picMkLst>
        </pc:picChg>
        <pc:picChg chg="mod">
          <ac:chgData name="Stephanie Mattsson" userId="77fffe8b-8c64-4110-a56b-5eb7399c61b9" providerId="ADAL" clId="{77B27497-8CA6-8846-AF23-C01C91407B95}" dt="2022-04-26T12:51:30.552" v="2601" actId="1036"/>
          <ac:picMkLst>
            <pc:docMk/>
            <pc:sldMk cId="83408938" sldId="2705"/>
            <ac:picMk id="42" creationId="{2DD57A05-EBC7-8045-908E-234466AE78B6}"/>
          </ac:picMkLst>
        </pc:picChg>
        <pc:picChg chg="mod">
          <ac:chgData name="Stephanie Mattsson" userId="77fffe8b-8c64-4110-a56b-5eb7399c61b9" providerId="ADAL" clId="{77B27497-8CA6-8846-AF23-C01C91407B95}" dt="2022-04-26T12:51:30.552" v="2601" actId="1036"/>
          <ac:picMkLst>
            <pc:docMk/>
            <pc:sldMk cId="83408938" sldId="2705"/>
            <ac:picMk id="43" creationId="{BFFE99A9-029F-B542-BD13-47AC18136568}"/>
          </ac:picMkLst>
        </pc:picChg>
        <pc:picChg chg="mod">
          <ac:chgData name="Stephanie Mattsson" userId="77fffe8b-8c64-4110-a56b-5eb7399c61b9" providerId="ADAL" clId="{77B27497-8CA6-8846-AF23-C01C91407B95}" dt="2022-04-26T12:51:30.552" v="2601" actId="1036"/>
          <ac:picMkLst>
            <pc:docMk/>
            <pc:sldMk cId="83408938" sldId="2705"/>
            <ac:picMk id="44" creationId="{97D15FF5-88E9-B54A-B1AD-D910848909CF}"/>
          </ac:picMkLst>
        </pc:picChg>
        <pc:picChg chg="mod">
          <ac:chgData name="Stephanie Mattsson" userId="77fffe8b-8c64-4110-a56b-5eb7399c61b9" providerId="ADAL" clId="{77B27497-8CA6-8846-AF23-C01C91407B95}" dt="2022-04-26T12:51:30.552" v="2601" actId="1036"/>
          <ac:picMkLst>
            <pc:docMk/>
            <pc:sldMk cId="83408938" sldId="2705"/>
            <ac:picMk id="45" creationId="{82585ADC-54E6-DA4C-93D8-B3FB6461CE78}"/>
          </ac:picMkLst>
        </pc:picChg>
        <pc:picChg chg="mod">
          <ac:chgData name="Stephanie Mattsson" userId="77fffe8b-8c64-4110-a56b-5eb7399c61b9" providerId="ADAL" clId="{77B27497-8CA6-8846-AF23-C01C91407B95}" dt="2022-04-26T12:51:30.552" v="2601" actId="1036"/>
          <ac:picMkLst>
            <pc:docMk/>
            <pc:sldMk cId="83408938" sldId="2705"/>
            <ac:picMk id="47" creationId="{4BD34C75-802B-C644-9A29-A03E8B1547DC}"/>
          </ac:picMkLst>
        </pc:picChg>
        <pc:picChg chg="mod">
          <ac:chgData name="Stephanie Mattsson" userId="77fffe8b-8c64-4110-a56b-5eb7399c61b9" providerId="ADAL" clId="{77B27497-8CA6-8846-AF23-C01C91407B95}" dt="2022-04-26T12:51:30.552" v="2601" actId="1036"/>
          <ac:picMkLst>
            <pc:docMk/>
            <pc:sldMk cId="83408938" sldId="2705"/>
            <ac:picMk id="48" creationId="{C72B7C88-A5F1-434A-B2EA-46DB266AB686}"/>
          </ac:picMkLst>
        </pc:picChg>
        <pc:picChg chg="mod">
          <ac:chgData name="Stephanie Mattsson" userId="77fffe8b-8c64-4110-a56b-5eb7399c61b9" providerId="ADAL" clId="{77B27497-8CA6-8846-AF23-C01C91407B95}" dt="2022-04-26T12:51:30.552" v="2601" actId="1036"/>
          <ac:picMkLst>
            <pc:docMk/>
            <pc:sldMk cId="83408938" sldId="2705"/>
            <ac:picMk id="49" creationId="{4C8AB045-F632-6D4C-B38E-06A52F73270F}"/>
          </ac:picMkLst>
        </pc:picChg>
        <pc:picChg chg="mod">
          <ac:chgData name="Stephanie Mattsson" userId="77fffe8b-8c64-4110-a56b-5eb7399c61b9" providerId="ADAL" clId="{77B27497-8CA6-8846-AF23-C01C91407B95}" dt="2022-04-26T12:51:30.552" v="2601" actId="1036"/>
          <ac:picMkLst>
            <pc:docMk/>
            <pc:sldMk cId="83408938" sldId="2705"/>
            <ac:picMk id="54" creationId="{6489B38F-12E7-1842-B26E-F273F9987680}"/>
          </ac:picMkLst>
        </pc:picChg>
        <pc:picChg chg="mod">
          <ac:chgData name="Stephanie Mattsson" userId="77fffe8b-8c64-4110-a56b-5eb7399c61b9" providerId="ADAL" clId="{77B27497-8CA6-8846-AF23-C01C91407B95}" dt="2022-04-26T12:51:30.552" v="2601" actId="1036"/>
          <ac:picMkLst>
            <pc:docMk/>
            <pc:sldMk cId="83408938" sldId="2705"/>
            <ac:picMk id="10242" creationId="{FC2FCB1F-7524-BE4C-8508-D120D9F3F55C}"/>
          </ac:picMkLst>
        </pc:picChg>
        <pc:picChg chg="mod">
          <ac:chgData name="Stephanie Mattsson" userId="77fffe8b-8c64-4110-a56b-5eb7399c61b9" providerId="ADAL" clId="{77B27497-8CA6-8846-AF23-C01C91407B95}" dt="2022-04-26T12:51:30.552" v="2601" actId="1036"/>
          <ac:picMkLst>
            <pc:docMk/>
            <pc:sldMk cId="83408938" sldId="2705"/>
            <ac:picMk id="10244" creationId="{17E16435-DED2-0849-81B8-D3538601AC4D}"/>
          </ac:picMkLst>
        </pc:picChg>
        <pc:picChg chg="mod">
          <ac:chgData name="Stephanie Mattsson" userId="77fffe8b-8c64-4110-a56b-5eb7399c61b9" providerId="ADAL" clId="{77B27497-8CA6-8846-AF23-C01C91407B95}" dt="2022-04-26T12:51:30.552" v="2601" actId="1036"/>
          <ac:picMkLst>
            <pc:docMk/>
            <pc:sldMk cId="83408938" sldId="2705"/>
            <ac:picMk id="10250" creationId="{B1F6D304-B112-624D-9D1C-54D92EBCB465}"/>
          </ac:picMkLst>
        </pc:picChg>
        <pc:cxnChg chg="mod">
          <ac:chgData name="Stephanie Mattsson" userId="77fffe8b-8c64-4110-a56b-5eb7399c61b9" providerId="ADAL" clId="{77B27497-8CA6-8846-AF23-C01C91407B95}" dt="2022-04-26T12:51:30.552" v="2601" actId="1036"/>
          <ac:cxnSpMkLst>
            <pc:docMk/>
            <pc:sldMk cId="83408938" sldId="2705"/>
            <ac:cxnSpMk id="9" creationId="{FA1C22E8-05E1-55A3-06AB-0B15023AD942}"/>
          </ac:cxnSpMkLst>
        </pc:cxnChg>
        <pc:cxnChg chg="mod">
          <ac:chgData name="Stephanie Mattsson" userId="77fffe8b-8c64-4110-a56b-5eb7399c61b9" providerId="ADAL" clId="{77B27497-8CA6-8846-AF23-C01C91407B95}" dt="2022-04-26T12:51:30.552" v="2601" actId="1036"/>
          <ac:cxnSpMkLst>
            <pc:docMk/>
            <pc:sldMk cId="83408938" sldId="2705"/>
            <ac:cxnSpMk id="61" creationId="{AB905137-351B-CF4C-A927-785953744242}"/>
          </ac:cxnSpMkLst>
        </pc:cxnChg>
        <pc:cxnChg chg="mod">
          <ac:chgData name="Stephanie Mattsson" userId="77fffe8b-8c64-4110-a56b-5eb7399c61b9" providerId="ADAL" clId="{77B27497-8CA6-8846-AF23-C01C91407B95}" dt="2022-04-26T12:51:30.552" v="2601" actId="1036"/>
          <ac:cxnSpMkLst>
            <pc:docMk/>
            <pc:sldMk cId="83408938" sldId="2705"/>
            <ac:cxnSpMk id="62" creationId="{D99ACF8E-E9B6-264D-8BB3-BB0CAC70F184}"/>
          </ac:cxnSpMkLst>
        </pc:cxnChg>
        <pc:cxnChg chg="mod">
          <ac:chgData name="Stephanie Mattsson" userId="77fffe8b-8c64-4110-a56b-5eb7399c61b9" providerId="ADAL" clId="{77B27497-8CA6-8846-AF23-C01C91407B95}" dt="2022-04-26T12:51:30.552" v="2601" actId="1036"/>
          <ac:cxnSpMkLst>
            <pc:docMk/>
            <pc:sldMk cId="83408938" sldId="2705"/>
            <ac:cxnSpMk id="93" creationId="{FA8DDE45-8B11-0A42-968D-EC00F033F593}"/>
          </ac:cxnSpMkLst>
        </pc:cxnChg>
        <pc:cxnChg chg="mod">
          <ac:chgData name="Stephanie Mattsson" userId="77fffe8b-8c64-4110-a56b-5eb7399c61b9" providerId="ADAL" clId="{77B27497-8CA6-8846-AF23-C01C91407B95}" dt="2022-04-26T12:51:30.552" v="2601" actId="1036"/>
          <ac:cxnSpMkLst>
            <pc:docMk/>
            <pc:sldMk cId="83408938" sldId="2705"/>
            <ac:cxnSpMk id="10263" creationId="{C6F43877-ADA4-2F40-94DC-833B6794AFCB}"/>
          </ac:cxnSpMkLst>
        </pc:cxnChg>
      </pc:sldChg>
      <pc:sldChg chg="new del">
        <pc:chgData name="Stephanie Mattsson" userId="77fffe8b-8c64-4110-a56b-5eb7399c61b9" providerId="ADAL" clId="{77B27497-8CA6-8846-AF23-C01C91407B95}" dt="2022-04-26T12:58:07.946" v="2734" actId="2696"/>
        <pc:sldMkLst>
          <pc:docMk/>
          <pc:sldMk cId="3214689101" sldId="2706"/>
        </pc:sldMkLst>
      </pc:sldChg>
      <pc:sldChg chg="addSp delSp modSp add mod delCm">
        <pc:chgData name="Stephanie Mattsson" userId="77fffe8b-8c64-4110-a56b-5eb7399c61b9" providerId="ADAL" clId="{77B27497-8CA6-8846-AF23-C01C91407B95}" dt="2022-05-31T07:47:34.056" v="3184" actId="1037"/>
        <pc:sldMkLst>
          <pc:docMk/>
          <pc:sldMk cId="84941987" sldId="2707"/>
        </pc:sldMkLst>
        <pc:spChg chg="add mod">
          <ac:chgData name="Stephanie Mattsson" userId="77fffe8b-8c64-4110-a56b-5eb7399c61b9" providerId="ADAL" clId="{77B27497-8CA6-8846-AF23-C01C91407B95}" dt="2022-05-31T07:47:19.409" v="3174" actId="20577"/>
          <ac:spMkLst>
            <pc:docMk/>
            <pc:sldMk cId="84941987" sldId="2707"/>
            <ac:spMk id="3" creationId="{3F49C0D3-3E44-7930-8236-852710144707}"/>
          </ac:spMkLst>
        </pc:spChg>
        <pc:spChg chg="mod">
          <ac:chgData name="Stephanie Mattsson" userId="77fffe8b-8c64-4110-a56b-5eb7399c61b9" providerId="ADAL" clId="{77B27497-8CA6-8846-AF23-C01C91407B95}" dt="2022-04-26T12:56:38.134" v="2697" actId="1035"/>
          <ac:spMkLst>
            <pc:docMk/>
            <pc:sldMk cId="84941987" sldId="2707"/>
            <ac:spMk id="4" creationId="{7C6A233E-1FA7-D04B-8812-C19A957C93CD}"/>
          </ac:spMkLst>
        </pc:spChg>
        <pc:spChg chg="mod">
          <ac:chgData name="Stephanie Mattsson" userId="77fffe8b-8c64-4110-a56b-5eb7399c61b9" providerId="ADAL" clId="{77B27497-8CA6-8846-AF23-C01C91407B95}" dt="2022-05-31T07:47:34.056" v="3184" actId="1037"/>
          <ac:spMkLst>
            <pc:docMk/>
            <pc:sldMk cId="84941987" sldId="2707"/>
            <ac:spMk id="5" creationId="{ACC5DA55-C5BC-075B-6CC3-32B246768A45}"/>
          </ac:spMkLst>
        </pc:spChg>
        <pc:spChg chg="mod">
          <ac:chgData name="Stephanie Mattsson" userId="77fffe8b-8c64-4110-a56b-5eb7399c61b9" providerId="ADAL" clId="{77B27497-8CA6-8846-AF23-C01C91407B95}" dt="2022-04-26T12:56:38.134" v="2697" actId="1035"/>
          <ac:spMkLst>
            <pc:docMk/>
            <pc:sldMk cId="84941987" sldId="2707"/>
            <ac:spMk id="53" creationId="{D99A50ED-1BF4-1747-B1B6-FF8D31E81365}"/>
          </ac:spMkLst>
        </pc:spChg>
        <pc:spChg chg="mod">
          <ac:chgData name="Stephanie Mattsson" userId="77fffe8b-8c64-4110-a56b-5eb7399c61b9" providerId="ADAL" clId="{77B27497-8CA6-8846-AF23-C01C91407B95}" dt="2022-04-26T12:56:38.134" v="2697" actId="1035"/>
          <ac:spMkLst>
            <pc:docMk/>
            <pc:sldMk cId="84941987" sldId="2707"/>
            <ac:spMk id="55" creationId="{6967590D-F8C9-9844-90D3-F6162B59465A}"/>
          </ac:spMkLst>
        </pc:spChg>
        <pc:spChg chg="mod">
          <ac:chgData name="Stephanie Mattsson" userId="77fffe8b-8c64-4110-a56b-5eb7399c61b9" providerId="ADAL" clId="{77B27497-8CA6-8846-AF23-C01C91407B95}" dt="2022-04-26T12:56:38.134" v="2697" actId="1035"/>
          <ac:spMkLst>
            <pc:docMk/>
            <pc:sldMk cId="84941987" sldId="2707"/>
            <ac:spMk id="58" creationId="{FBE9B74A-7327-A545-800C-67B2E48887B9}"/>
          </ac:spMkLst>
        </pc:spChg>
        <pc:spChg chg="mod">
          <ac:chgData name="Stephanie Mattsson" userId="77fffe8b-8c64-4110-a56b-5eb7399c61b9" providerId="ADAL" clId="{77B27497-8CA6-8846-AF23-C01C91407B95}" dt="2022-04-26T12:56:38.134" v="2697" actId="1035"/>
          <ac:spMkLst>
            <pc:docMk/>
            <pc:sldMk cId="84941987" sldId="2707"/>
            <ac:spMk id="60" creationId="{546E57BF-008A-6A49-B1DC-E079C7D576F4}"/>
          </ac:spMkLst>
        </pc:spChg>
        <pc:spChg chg="mod">
          <ac:chgData name="Stephanie Mattsson" userId="77fffe8b-8c64-4110-a56b-5eb7399c61b9" providerId="ADAL" clId="{77B27497-8CA6-8846-AF23-C01C91407B95}" dt="2022-04-26T12:56:17.678" v="2654" actId="20577"/>
          <ac:spMkLst>
            <pc:docMk/>
            <pc:sldMk cId="84941987" sldId="2707"/>
            <ac:spMk id="65" creationId="{DAFE5191-8869-8304-4B6E-E254F46539FD}"/>
          </ac:spMkLst>
        </pc:spChg>
        <pc:spChg chg="mod">
          <ac:chgData name="Stephanie Mattsson" userId="77fffe8b-8c64-4110-a56b-5eb7399c61b9" providerId="ADAL" clId="{77B27497-8CA6-8846-AF23-C01C91407B95}" dt="2022-04-26T13:20:50.346" v="2835" actId="207"/>
          <ac:spMkLst>
            <pc:docMk/>
            <pc:sldMk cId="84941987" sldId="2707"/>
            <ac:spMk id="68" creationId="{98647605-5B0C-0340-8D71-23339F985CE9}"/>
          </ac:spMkLst>
        </pc:spChg>
        <pc:spChg chg="mod">
          <ac:chgData name="Stephanie Mattsson" userId="77fffe8b-8c64-4110-a56b-5eb7399c61b9" providerId="ADAL" clId="{77B27497-8CA6-8846-AF23-C01C91407B95}" dt="2022-04-26T13:20:16.444" v="2829" actId="207"/>
          <ac:spMkLst>
            <pc:docMk/>
            <pc:sldMk cId="84941987" sldId="2707"/>
            <ac:spMk id="69" creationId="{CAC63E15-4DD7-2949-A9BD-CB9B2414315C}"/>
          </ac:spMkLst>
        </pc:spChg>
        <pc:spChg chg="mod">
          <ac:chgData name="Stephanie Mattsson" userId="77fffe8b-8c64-4110-a56b-5eb7399c61b9" providerId="ADAL" clId="{77B27497-8CA6-8846-AF23-C01C91407B95}" dt="2022-04-26T13:20:34.938" v="2831" actId="207"/>
          <ac:spMkLst>
            <pc:docMk/>
            <pc:sldMk cId="84941987" sldId="2707"/>
            <ac:spMk id="70" creationId="{E8E510CC-D6AA-CA45-8B34-576047CD592F}"/>
          </ac:spMkLst>
        </pc:spChg>
        <pc:spChg chg="mod">
          <ac:chgData name="Stephanie Mattsson" userId="77fffe8b-8c64-4110-a56b-5eb7399c61b9" providerId="ADAL" clId="{77B27497-8CA6-8846-AF23-C01C91407B95}" dt="2022-04-26T13:20:27.677" v="2830" actId="207"/>
          <ac:spMkLst>
            <pc:docMk/>
            <pc:sldMk cId="84941987" sldId="2707"/>
            <ac:spMk id="71" creationId="{9DED6606-68C2-EF4C-8CE1-9E73854774D3}"/>
          </ac:spMkLst>
        </pc:spChg>
        <pc:spChg chg="mod">
          <ac:chgData name="Stephanie Mattsson" userId="77fffe8b-8c64-4110-a56b-5eb7399c61b9" providerId="ADAL" clId="{77B27497-8CA6-8846-AF23-C01C91407B95}" dt="2022-04-26T13:20:56.249" v="2836" actId="207"/>
          <ac:spMkLst>
            <pc:docMk/>
            <pc:sldMk cId="84941987" sldId="2707"/>
            <ac:spMk id="72" creationId="{DAADC672-F136-B04C-B872-E7771CD32584}"/>
          </ac:spMkLst>
        </pc:spChg>
        <pc:spChg chg="mod">
          <ac:chgData name="Stephanie Mattsson" userId="77fffe8b-8c64-4110-a56b-5eb7399c61b9" providerId="ADAL" clId="{77B27497-8CA6-8846-AF23-C01C91407B95}" dt="2022-04-26T13:20:27.677" v="2830" actId="207"/>
          <ac:spMkLst>
            <pc:docMk/>
            <pc:sldMk cId="84941987" sldId="2707"/>
            <ac:spMk id="73" creationId="{F82F2127-BEAD-2749-BCC2-A8AEF17106E8}"/>
          </ac:spMkLst>
        </pc:spChg>
        <pc:spChg chg="del mod">
          <ac:chgData name="Stephanie Mattsson" userId="77fffe8b-8c64-4110-a56b-5eb7399c61b9" providerId="ADAL" clId="{77B27497-8CA6-8846-AF23-C01C91407B95}" dt="2022-04-26T12:55:19.045" v="2634" actId="478"/>
          <ac:spMkLst>
            <pc:docMk/>
            <pc:sldMk cId="84941987" sldId="2707"/>
            <ac:spMk id="75" creationId="{A5465850-60BE-104D-9E3A-2D5159E7FE2F}"/>
          </ac:spMkLst>
        </pc:spChg>
        <pc:spChg chg="mod">
          <ac:chgData name="Stephanie Mattsson" userId="77fffe8b-8c64-4110-a56b-5eb7399c61b9" providerId="ADAL" clId="{77B27497-8CA6-8846-AF23-C01C91407B95}" dt="2022-04-26T12:56:38.134" v="2697" actId="1035"/>
          <ac:spMkLst>
            <pc:docMk/>
            <pc:sldMk cId="84941987" sldId="2707"/>
            <ac:spMk id="149" creationId="{0F100644-7DAB-D943-960D-A5A096E0E9C2}"/>
          </ac:spMkLst>
        </pc:spChg>
        <pc:spChg chg="mod">
          <ac:chgData name="Stephanie Mattsson" userId="77fffe8b-8c64-4110-a56b-5eb7399c61b9" providerId="ADAL" clId="{77B27497-8CA6-8846-AF23-C01C91407B95}" dt="2022-04-26T13:20:43.416" v="2833" actId="207"/>
          <ac:spMkLst>
            <pc:docMk/>
            <pc:sldMk cId="84941987" sldId="2707"/>
            <ac:spMk id="150" creationId="{9678B72A-0E4E-8946-A8C6-8ED1530570C6}"/>
          </ac:spMkLst>
        </pc:spChg>
        <pc:spChg chg="mod">
          <ac:chgData name="Stephanie Mattsson" userId="77fffe8b-8c64-4110-a56b-5eb7399c61b9" providerId="ADAL" clId="{77B27497-8CA6-8846-AF23-C01C91407B95}" dt="2022-04-26T12:56:38.134" v="2697" actId="1035"/>
          <ac:spMkLst>
            <pc:docMk/>
            <pc:sldMk cId="84941987" sldId="2707"/>
            <ac:spMk id="151" creationId="{C098B728-F30A-DB43-BB49-0789BCE1969F}"/>
          </ac:spMkLst>
        </pc:spChg>
        <pc:spChg chg="mod">
          <ac:chgData name="Stephanie Mattsson" userId="77fffe8b-8c64-4110-a56b-5eb7399c61b9" providerId="ADAL" clId="{77B27497-8CA6-8846-AF23-C01C91407B95}" dt="2022-04-26T12:58:04.860" v="2733" actId="1035"/>
          <ac:spMkLst>
            <pc:docMk/>
            <pc:sldMk cId="84941987" sldId="2707"/>
            <ac:spMk id="169" creationId="{3BCE4EDB-464B-834C-9F8B-720A14EB10C9}"/>
          </ac:spMkLst>
        </pc:spChg>
        <pc:spChg chg="mod">
          <ac:chgData name="Stephanie Mattsson" userId="77fffe8b-8c64-4110-a56b-5eb7399c61b9" providerId="ADAL" clId="{77B27497-8CA6-8846-AF23-C01C91407B95}" dt="2022-04-26T12:56:38.134" v="2697" actId="1035"/>
          <ac:spMkLst>
            <pc:docMk/>
            <pc:sldMk cId="84941987" sldId="2707"/>
            <ac:spMk id="10259" creationId="{2AC7689B-D4C2-2F41-A841-487CEBF532A8}"/>
          </ac:spMkLst>
        </pc:spChg>
        <pc:grpChg chg="mod">
          <ac:chgData name="Stephanie Mattsson" userId="77fffe8b-8c64-4110-a56b-5eb7399c61b9" providerId="ADAL" clId="{77B27497-8CA6-8846-AF23-C01C91407B95}" dt="2022-04-26T12:56:38.134" v="2697" actId="1035"/>
          <ac:grpSpMkLst>
            <pc:docMk/>
            <pc:sldMk cId="84941987" sldId="2707"/>
            <ac:grpSpMk id="10" creationId="{D732700D-A858-9D42-BFA3-DDC39289D819}"/>
          </ac:grpSpMkLst>
        </pc:grpChg>
        <pc:grpChg chg="mod">
          <ac:chgData name="Stephanie Mattsson" userId="77fffe8b-8c64-4110-a56b-5eb7399c61b9" providerId="ADAL" clId="{77B27497-8CA6-8846-AF23-C01C91407B95}" dt="2022-04-26T12:56:38.134" v="2697" actId="1035"/>
          <ac:grpSpMkLst>
            <pc:docMk/>
            <pc:sldMk cId="84941987" sldId="2707"/>
            <ac:grpSpMk id="51" creationId="{9F3873D0-96B8-154A-A9D5-FE9833F0022B}"/>
          </ac:grpSpMkLst>
        </pc:grpChg>
        <pc:graphicFrameChg chg="mod">
          <ac:chgData name="Stephanie Mattsson" userId="77fffe8b-8c64-4110-a56b-5eb7399c61b9" providerId="ADAL" clId="{77B27497-8CA6-8846-AF23-C01C91407B95}" dt="2022-04-26T13:16:06.105" v="2805"/>
          <ac:graphicFrameMkLst>
            <pc:docMk/>
            <pc:sldMk cId="84941987" sldId="2707"/>
            <ac:graphicFrameMk id="67" creationId="{5EC13A84-3F73-E746-BEDF-AE26F88FD84D}"/>
          </ac:graphicFrameMkLst>
        </pc:graphicFrameChg>
        <pc:picChg chg="mod">
          <ac:chgData name="Stephanie Mattsson" userId="77fffe8b-8c64-4110-a56b-5eb7399c61b9" providerId="ADAL" clId="{77B27497-8CA6-8846-AF23-C01C91407B95}" dt="2022-04-26T12:56:38.134" v="2697" actId="1035"/>
          <ac:picMkLst>
            <pc:docMk/>
            <pc:sldMk cId="84941987" sldId="2707"/>
            <ac:picMk id="12" creationId="{9AEACF0E-F1B9-C64B-BB76-301512F83F51}"/>
          </ac:picMkLst>
        </pc:picChg>
        <pc:picChg chg="mod">
          <ac:chgData name="Stephanie Mattsson" userId="77fffe8b-8c64-4110-a56b-5eb7399c61b9" providerId="ADAL" clId="{77B27497-8CA6-8846-AF23-C01C91407B95}" dt="2022-04-26T12:56:38.134" v="2697" actId="1035"/>
          <ac:picMkLst>
            <pc:docMk/>
            <pc:sldMk cId="84941987" sldId="2707"/>
            <ac:picMk id="13" creationId="{6855B6E9-FAA7-E44A-A8C6-6E0D2D33DF75}"/>
          </ac:picMkLst>
        </pc:picChg>
        <pc:picChg chg="mod">
          <ac:chgData name="Stephanie Mattsson" userId="77fffe8b-8c64-4110-a56b-5eb7399c61b9" providerId="ADAL" clId="{77B27497-8CA6-8846-AF23-C01C91407B95}" dt="2022-04-26T12:56:38.134" v="2697" actId="1035"/>
          <ac:picMkLst>
            <pc:docMk/>
            <pc:sldMk cId="84941987" sldId="2707"/>
            <ac:picMk id="14" creationId="{CF6B38C6-FC2E-124C-B475-7479C909D4CA}"/>
          </ac:picMkLst>
        </pc:picChg>
        <pc:picChg chg="mod">
          <ac:chgData name="Stephanie Mattsson" userId="77fffe8b-8c64-4110-a56b-5eb7399c61b9" providerId="ADAL" clId="{77B27497-8CA6-8846-AF23-C01C91407B95}" dt="2022-04-26T12:56:38.134" v="2697" actId="1035"/>
          <ac:picMkLst>
            <pc:docMk/>
            <pc:sldMk cId="84941987" sldId="2707"/>
            <ac:picMk id="20" creationId="{2EA5A782-3E86-9E4B-A10D-52DD46893DA0}"/>
          </ac:picMkLst>
        </pc:picChg>
        <pc:picChg chg="mod">
          <ac:chgData name="Stephanie Mattsson" userId="77fffe8b-8c64-4110-a56b-5eb7399c61b9" providerId="ADAL" clId="{77B27497-8CA6-8846-AF23-C01C91407B95}" dt="2022-04-26T12:56:38.134" v="2697" actId="1035"/>
          <ac:picMkLst>
            <pc:docMk/>
            <pc:sldMk cId="84941987" sldId="2707"/>
            <ac:picMk id="21" creationId="{750927E8-ADAA-8E46-B5C9-CE5490242712}"/>
          </ac:picMkLst>
        </pc:picChg>
        <pc:picChg chg="mod">
          <ac:chgData name="Stephanie Mattsson" userId="77fffe8b-8c64-4110-a56b-5eb7399c61b9" providerId="ADAL" clId="{77B27497-8CA6-8846-AF23-C01C91407B95}" dt="2022-04-26T12:56:38.134" v="2697" actId="1035"/>
          <ac:picMkLst>
            <pc:docMk/>
            <pc:sldMk cId="84941987" sldId="2707"/>
            <ac:picMk id="22" creationId="{BB85DB49-85C8-0C4B-9860-BCAFE1C4D741}"/>
          </ac:picMkLst>
        </pc:picChg>
        <pc:picChg chg="mod">
          <ac:chgData name="Stephanie Mattsson" userId="77fffe8b-8c64-4110-a56b-5eb7399c61b9" providerId="ADAL" clId="{77B27497-8CA6-8846-AF23-C01C91407B95}" dt="2022-04-26T12:56:38.134" v="2697" actId="1035"/>
          <ac:picMkLst>
            <pc:docMk/>
            <pc:sldMk cId="84941987" sldId="2707"/>
            <ac:picMk id="23" creationId="{1CC8C004-9D8A-5144-A5F8-7FAF193492C4}"/>
          </ac:picMkLst>
        </pc:picChg>
        <pc:picChg chg="mod">
          <ac:chgData name="Stephanie Mattsson" userId="77fffe8b-8c64-4110-a56b-5eb7399c61b9" providerId="ADAL" clId="{77B27497-8CA6-8846-AF23-C01C91407B95}" dt="2022-04-26T12:56:38.134" v="2697" actId="1035"/>
          <ac:picMkLst>
            <pc:docMk/>
            <pc:sldMk cId="84941987" sldId="2707"/>
            <ac:picMk id="24" creationId="{B3244B08-A506-D148-B64A-48FD09F67FFF}"/>
          </ac:picMkLst>
        </pc:picChg>
        <pc:picChg chg="mod">
          <ac:chgData name="Stephanie Mattsson" userId="77fffe8b-8c64-4110-a56b-5eb7399c61b9" providerId="ADAL" clId="{77B27497-8CA6-8846-AF23-C01C91407B95}" dt="2022-04-26T12:56:38.134" v="2697" actId="1035"/>
          <ac:picMkLst>
            <pc:docMk/>
            <pc:sldMk cId="84941987" sldId="2707"/>
            <ac:picMk id="25" creationId="{8778531E-4EA1-D845-89DF-4622E69E3EB4}"/>
          </ac:picMkLst>
        </pc:picChg>
        <pc:picChg chg="mod">
          <ac:chgData name="Stephanie Mattsson" userId="77fffe8b-8c64-4110-a56b-5eb7399c61b9" providerId="ADAL" clId="{77B27497-8CA6-8846-AF23-C01C91407B95}" dt="2022-04-26T12:56:38.134" v="2697" actId="1035"/>
          <ac:picMkLst>
            <pc:docMk/>
            <pc:sldMk cId="84941987" sldId="2707"/>
            <ac:picMk id="26" creationId="{6B0EF2C4-CD20-C846-A759-34F2F3614AA7}"/>
          </ac:picMkLst>
        </pc:picChg>
        <pc:picChg chg="mod">
          <ac:chgData name="Stephanie Mattsson" userId="77fffe8b-8c64-4110-a56b-5eb7399c61b9" providerId="ADAL" clId="{77B27497-8CA6-8846-AF23-C01C91407B95}" dt="2022-04-26T12:56:38.134" v="2697" actId="1035"/>
          <ac:picMkLst>
            <pc:docMk/>
            <pc:sldMk cId="84941987" sldId="2707"/>
            <ac:picMk id="27" creationId="{D92A2765-248D-854F-8FC0-F5332E46F4AF}"/>
          </ac:picMkLst>
        </pc:picChg>
        <pc:picChg chg="mod">
          <ac:chgData name="Stephanie Mattsson" userId="77fffe8b-8c64-4110-a56b-5eb7399c61b9" providerId="ADAL" clId="{77B27497-8CA6-8846-AF23-C01C91407B95}" dt="2022-04-26T12:56:38.134" v="2697" actId="1035"/>
          <ac:picMkLst>
            <pc:docMk/>
            <pc:sldMk cId="84941987" sldId="2707"/>
            <ac:picMk id="28" creationId="{9B641675-90B6-E64B-ADB4-68ACDA9B3428}"/>
          </ac:picMkLst>
        </pc:picChg>
        <pc:picChg chg="mod">
          <ac:chgData name="Stephanie Mattsson" userId="77fffe8b-8c64-4110-a56b-5eb7399c61b9" providerId="ADAL" clId="{77B27497-8CA6-8846-AF23-C01C91407B95}" dt="2022-04-26T12:56:38.134" v="2697" actId="1035"/>
          <ac:picMkLst>
            <pc:docMk/>
            <pc:sldMk cId="84941987" sldId="2707"/>
            <ac:picMk id="29" creationId="{A90C116B-7855-004D-855C-7A599A4347FD}"/>
          </ac:picMkLst>
        </pc:picChg>
        <pc:picChg chg="mod">
          <ac:chgData name="Stephanie Mattsson" userId="77fffe8b-8c64-4110-a56b-5eb7399c61b9" providerId="ADAL" clId="{77B27497-8CA6-8846-AF23-C01C91407B95}" dt="2022-04-26T12:56:38.134" v="2697" actId="1035"/>
          <ac:picMkLst>
            <pc:docMk/>
            <pc:sldMk cId="84941987" sldId="2707"/>
            <ac:picMk id="30" creationId="{FAFB4F2C-F770-534D-B267-2EA2D9F7560B}"/>
          </ac:picMkLst>
        </pc:picChg>
        <pc:picChg chg="mod">
          <ac:chgData name="Stephanie Mattsson" userId="77fffe8b-8c64-4110-a56b-5eb7399c61b9" providerId="ADAL" clId="{77B27497-8CA6-8846-AF23-C01C91407B95}" dt="2022-04-26T12:56:38.134" v="2697" actId="1035"/>
          <ac:picMkLst>
            <pc:docMk/>
            <pc:sldMk cId="84941987" sldId="2707"/>
            <ac:picMk id="31" creationId="{2ED15B16-F4E6-0B47-8605-ACE0A8AE881E}"/>
          </ac:picMkLst>
        </pc:picChg>
        <pc:picChg chg="mod">
          <ac:chgData name="Stephanie Mattsson" userId="77fffe8b-8c64-4110-a56b-5eb7399c61b9" providerId="ADAL" clId="{77B27497-8CA6-8846-AF23-C01C91407B95}" dt="2022-04-26T12:56:38.134" v="2697" actId="1035"/>
          <ac:picMkLst>
            <pc:docMk/>
            <pc:sldMk cId="84941987" sldId="2707"/>
            <ac:picMk id="32" creationId="{94A2715B-38F2-554B-A349-B5765EC2A780}"/>
          </ac:picMkLst>
        </pc:picChg>
        <pc:picChg chg="mod">
          <ac:chgData name="Stephanie Mattsson" userId="77fffe8b-8c64-4110-a56b-5eb7399c61b9" providerId="ADAL" clId="{77B27497-8CA6-8846-AF23-C01C91407B95}" dt="2022-04-26T12:56:38.134" v="2697" actId="1035"/>
          <ac:picMkLst>
            <pc:docMk/>
            <pc:sldMk cId="84941987" sldId="2707"/>
            <ac:picMk id="34" creationId="{1C6BC73F-EAC0-7C4B-9815-0E652C1F1B03}"/>
          </ac:picMkLst>
        </pc:picChg>
        <pc:picChg chg="mod">
          <ac:chgData name="Stephanie Mattsson" userId="77fffe8b-8c64-4110-a56b-5eb7399c61b9" providerId="ADAL" clId="{77B27497-8CA6-8846-AF23-C01C91407B95}" dt="2022-04-26T12:56:38.134" v="2697" actId="1035"/>
          <ac:picMkLst>
            <pc:docMk/>
            <pc:sldMk cId="84941987" sldId="2707"/>
            <ac:picMk id="35" creationId="{886490CC-C2C5-AC4A-BEB3-FBE52097EBB2}"/>
          </ac:picMkLst>
        </pc:picChg>
        <pc:picChg chg="mod">
          <ac:chgData name="Stephanie Mattsson" userId="77fffe8b-8c64-4110-a56b-5eb7399c61b9" providerId="ADAL" clId="{77B27497-8CA6-8846-AF23-C01C91407B95}" dt="2022-04-26T12:56:38.134" v="2697" actId="1035"/>
          <ac:picMkLst>
            <pc:docMk/>
            <pc:sldMk cId="84941987" sldId="2707"/>
            <ac:picMk id="36" creationId="{2C9ED7AD-80A1-7F49-B66F-C168C2067B1A}"/>
          </ac:picMkLst>
        </pc:picChg>
        <pc:picChg chg="mod">
          <ac:chgData name="Stephanie Mattsson" userId="77fffe8b-8c64-4110-a56b-5eb7399c61b9" providerId="ADAL" clId="{77B27497-8CA6-8846-AF23-C01C91407B95}" dt="2022-04-26T12:56:38.134" v="2697" actId="1035"/>
          <ac:picMkLst>
            <pc:docMk/>
            <pc:sldMk cId="84941987" sldId="2707"/>
            <ac:picMk id="37" creationId="{7B62EED2-19F1-CA49-885E-85A2BF561493}"/>
          </ac:picMkLst>
        </pc:picChg>
        <pc:picChg chg="mod">
          <ac:chgData name="Stephanie Mattsson" userId="77fffe8b-8c64-4110-a56b-5eb7399c61b9" providerId="ADAL" clId="{77B27497-8CA6-8846-AF23-C01C91407B95}" dt="2022-04-26T12:56:38.134" v="2697" actId="1035"/>
          <ac:picMkLst>
            <pc:docMk/>
            <pc:sldMk cId="84941987" sldId="2707"/>
            <ac:picMk id="38" creationId="{DCD09EF8-8D88-B94A-B5E9-002EF39E21F4}"/>
          </ac:picMkLst>
        </pc:picChg>
        <pc:picChg chg="mod">
          <ac:chgData name="Stephanie Mattsson" userId="77fffe8b-8c64-4110-a56b-5eb7399c61b9" providerId="ADAL" clId="{77B27497-8CA6-8846-AF23-C01C91407B95}" dt="2022-04-26T12:56:38.134" v="2697" actId="1035"/>
          <ac:picMkLst>
            <pc:docMk/>
            <pc:sldMk cId="84941987" sldId="2707"/>
            <ac:picMk id="40" creationId="{36E1E9DA-8098-704E-AEA1-90A63F86D664}"/>
          </ac:picMkLst>
        </pc:picChg>
        <pc:picChg chg="mod">
          <ac:chgData name="Stephanie Mattsson" userId="77fffe8b-8c64-4110-a56b-5eb7399c61b9" providerId="ADAL" clId="{77B27497-8CA6-8846-AF23-C01C91407B95}" dt="2022-04-26T12:56:38.134" v="2697" actId="1035"/>
          <ac:picMkLst>
            <pc:docMk/>
            <pc:sldMk cId="84941987" sldId="2707"/>
            <ac:picMk id="41" creationId="{4919FEF4-1752-CF4E-AECD-CCD8228B0BB3}"/>
          </ac:picMkLst>
        </pc:picChg>
        <pc:picChg chg="mod">
          <ac:chgData name="Stephanie Mattsson" userId="77fffe8b-8c64-4110-a56b-5eb7399c61b9" providerId="ADAL" clId="{77B27497-8CA6-8846-AF23-C01C91407B95}" dt="2022-04-26T12:56:38.134" v="2697" actId="1035"/>
          <ac:picMkLst>
            <pc:docMk/>
            <pc:sldMk cId="84941987" sldId="2707"/>
            <ac:picMk id="42" creationId="{2DD57A05-EBC7-8045-908E-234466AE78B6}"/>
          </ac:picMkLst>
        </pc:picChg>
        <pc:picChg chg="mod">
          <ac:chgData name="Stephanie Mattsson" userId="77fffe8b-8c64-4110-a56b-5eb7399c61b9" providerId="ADAL" clId="{77B27497-8CA6-8846-AF23-C01C91407B95}" dt="2022-04-26T12:56:38.134" v="2697" actId="1035"/>
          <ac:picMkLst>
            <pc:docMk/>
            <pc:sldMk cId="84941987" sldId="2707"/>
            <ac:picMk id="43" creationId="{BFFE99A9-029F-B542-BD13-47AC18136568}"/>
          </ac:picMkLst>
        </pc:picChg>
        <pc:picChg chg="mod">
          <ac:chgData name="Stephanie Mattsson" userId="77fffe8b-8c64-4110-a56b-5eb7399c61b9" providerId="ADAL" clId="{77B27497-8CA6-8846-AF23-C01C91407B95}" dt="2022-04-26T12:56:38.134" v="2697" actId="1035"/>
          <ac:picMkLst>
            <pc:docMk/>
            <pc:sldMk cId="84941987" sldId="2707"/>
            <ac:picMk id="44" creationId="{97D15FF5-88E9-B54A-B1AD-D910848909CF}"/>
          </ac:picMkLst>
        </pc:picChg>
        <pc:picChg chg="mod">
          <ac:chgData name="Stephanie Mattsson" userId="77fffe8b-8c64-4110-a56b-5eb7399c61b9" providerId="ADAL" clId="{77B27497-8CA6-8846-AF23-C01C91407B95}" dt="2022-04-26T12:56:38.134" v="2697" actId="1035"/>
          <ac:picMkLst>
            <pc:docMk/>
            <pc:sldMk cId="84941987" sldId="2707"/>
            <ac:picMk id="45" creationId="{82585ADC-54E6-DA4C-93D8-B3FB6461CE78}"/>
          </ac:picMkLst>
        </pc:picChg>
        <pc:picChg chg="mod">
          <ac:chgData name="Stephanie Mattsson" userId="77fffe8b-8c64-4110-a56b-5eb7399c61b9" providerId="ADAL" clId="{77B27497-8CA6-8846-AF23-C01C91407B95}" dt="2022-04-26T12:56:38.134" v="2697" actId="1035"/>
          <ac:picMkLst>
            <pc:docMk/>
            <pc:sldMk cId="84941987" sldId="2707"/>
            <ac:picMk id="47" creationId="{4BD34C75-802B-C644-9A29-A03E8B1547DC}"/>
          </ac:picMkLst>
        </pc:picChg>
        <pc:picChg chg="mod">
          <ac:chgData name="Stephanie Mattsson" userId="77fffe8b-8c64-4110-a56b-5eb7399c61b9" providerId="ADAL" clId="{77B27497-8CA6-8846-AF23-C01C91407B95}" dt="2022-04-26T12:56:38.134" v="2697" actId="1035"/>
          <ac:picMkLst>
            <pc:docMk/>
            <pc:sldMk cId="84941987" sldId="2707"/>
            <ac:picMk id="48" creationId="{C72B7C88-A5F1-434A-B2EA-46DB266AB686}"/>
          </ac:picMkLst>
        </pc:picChg>
        <pc:picChg chg="mod">
          <ac:chgData name="Stephanie Mattsson" userId="77fffe8b-8c64-4110-a56b-5eb7399c61b9" providerId="ADAL" clId="{77B27497-8CA6-8846-AF23-C01C91407B95}" dt="2022-04-26T12:56:38.134" v="2697" actId="1035"/>
          <ac:picMkLst>
            <pc:docMk/>
            <pc:sldMk cId="84941987" sldId="2707"/>
            <ac:picMk id="49" creationId="{4C8AB045-F632-6D4C-B38E-06A52F73270F}"/>
          </ac:picMkLst>
        </pc:picChg>
        <pc:picChg chg="mod">
          <ac:chgData name="Stephanie Mattsson" userId="77fffe8b-8c64-4110-a56b-5eb7399c61b9" providerId="ADAL" clId="{77B27497-8CA6-8846-AF23-C01C91407B95}" dt="2022-04-26T12:56:38.134" v="2697" actId="1035"/>
          <ac:picMkLst>
            <pc:docMk/>
            <pc:sldMk cId="84941987" sldId="2707"/>
            <ac:picMk id="54" creationId="{6489B38F-12E7-1842-B26E-F273F9987680}"/>
          </ac:picMkLst>
        </pc:picChg>
        <pc:picChg chg="mod">
          <ac:chgData name="Stephanie Mattsson" userId="77fffe8b-8c64-4110-a56b-5eb7399c61b9" providerId="ADAL" clId="{77B27497-8CA6-8846-AF23-C01C91407B95}" dt="2022-04-26T12:56:38.134" v="2697" actId="1035"/>
          <ac:picMkLst>
            <pc:docMk/>
            <pc:sldMk cId="84941987" sldId="2707"/>
            <ac:picMk id="10242" creationId="{FC2FCB1F-7524-BE4C-8508-D120D9F3F55C}"/>
          </ac:picMkLst>
        </pc:picChg>
        <pc:picChg chg="mod">
          <ac:chgData name="Stephanie Mattsson" userId="77fffe8b-8c64-4110-a56b-5eb7399c61b9" providerId="ADAL" clId="{77B27497-8CA6-8846-AF23-C01C91407B95}" dt="2022-04-26T12:56:38.134" v="2697" actId="1035"/>
          <ac:picMkLst>
            <pc:docMk/>
            <pc:sldMk cId="84941987" sldId="2707"/>
            <ac:picMk id="10244" creationId="{17E16435-DED2-0849-81B8-D3538601AC4D}"/>
          </ac:picMkLst>
        </pc:picChg>
        <pc:picChg chg="mod">
          <ac:chgData name="Stephanie Mattsson" userId="77fffe8b-8c64-4110-a56b-5eb7399c61b9" providerId="ADAL" clId="{77B27497-8CA6-8846-AF23-C01C91407B95}" dt="2022-04-26T12:56:38.134" v="2697" actId="1035"/>
          <ac:picMkLst>
            <pc:docMk/>
            <pc:sldMk cId="84941987" sldId="2707"/>
            <ac:picMk id="10250" creationId="{B1F6D304-B112-624D-9D1C-54D92EBCB465}"/>
          </ac:picMkLst>
        </pc:picChg>
        <pc:picChg chg="mod">
          <ac:chgData name="Stephanie Mattsson" userId="77fffe8b-8c64-4110-a56b-5eb7399c61b9" providerId="ADAL" clId="{77B27497-8CA6-8846-AF23-C01C91407B95}" dt="2022-05-31T07:47:34.056" v="3184" actId="1037"/>
          <ac:picMkLst>
            <pc:docMk/>
            <pc:sldMk cId="84941987" sldId="2707"/>
            <ac:picMk id="33794" creationId="{36CF6BEB-1E26-2FFC-2E90-C20EC0DFD968}"/>
          </ac:picMkLst>
        </pc:picChg>
        <pc:cxnChg chg="mod">
          <ac:chgData name="Stephanie Mattsson" userId="77fffe8b-8c64-4110-a56b-5eb7399c61b9" providerId="ADAL" clId="{77B27497-8CA6-8846-AF23-C01C91407B95}" dt="2022-04-26T12:56:38.134" v="2697" actId="1035"/>
          <ac:cxnSpMkLst>
            <pc:docMk/>
            <pc:sldMk cId="84941987" sldId="2707"/>
            <ac:cxnSpMk id="9" creationId="{FA1C22E8-05E1-55A3-06AB-0B15023AD942}"/>
          </ac:cxnSpMkLst>
        </pc:cxnChg>
        <pc:cxnChg chg="mod">
          <ac:chgData name="Stephanie Mattsson" userId="77fffe8b-8c64-4110-a56b-5eb7399c61b9" providerId="ADAL" clId="{77B27497-8CA6-8846-AF23-C01C91407B95}" dt="2022-04-26T12:56:38.134" v="2697" actId="1035"/>
          <ac:cxnSpMkLst>
            <pc:docMk/>
            <pc:sldMk cId="84941987" sldId="2707"/>
            <ac:cxnSpMk id="61" creationId="{AB905137-351B-CF4C-A927-785953744242}"/>
          </ac:cxnSpMkLst>
        </pc:cxnChg>
        <pc:cxnChg chg="mod">
          <ac:chgData name="Stephanie Mattsson" userId="77fffe8b-8c64-4110-a56b-5eb7399c61b9" providerId="ADAL" clId="{77B27497-8CA6-8846-AF23-C01C91407B95}" dt="2022-04-26T12:56:38.134" v="2697" actId="1035"/>
          <ac:cxnSpMkLst>
            <pc:docMk/>
            <pc:sldMk cId="84941987" sldId="2707"/>
            <ac:cxnSpMk id="62" creationId="{D99ACF8E-E9B6-264D-8BB3-BB0CAC70F184}"/>
          </ac:cxnSpMkLst>
        </pc:cxnChg>
        <pc:cxnChg chg="mod">
          <ac:chgData name="Stephanie Mattsson" userId="77fffe8b-8c64-4110-a56b-5eb7399c61b9" providerId="ADAL" clId="{77B27497-8CA6-8846-AF23-C01C91407B95}" dt="2022-04-26T12:56:38.134" v="2697" actId="1035"/>
          <ac:cxnSpMkLst>
            <pc:docMk/>
            <pc:sldMk cId="84941987" sldId="2707"/>
            <ac:cxnSpMk id="93" creationId="{FA8DDE45-8B11-0A42-968D-EC00F033F593}"/>
          </ac:cxnSpMkLst>
        </pc:cxnChg>
        <pc:cxnChg chg="mod">
          <ac:chgData name="Stephanie Mattsson" userId="77fffe8b-8c64-4110-a56b-5eb7399c61b9" providerId="ADAL" clId="{77B27497-8CA6-8846-AF23-C01C91407B95}" dt="2022-04-26T12:56:38.134" v="2697" actId="1035"/>
          <ac:cxnSpMkLst>
            <pc:docMk/>
            <pc:sldMk cId="84941987" sldId="2707"/>
            <ac:cxnSpMk id="10263" creationId="{C6F43877-ADA4-2F40-94DC-833B6794AFCB}"/>
          </ac:cxnSpMkLst>
        </pc:cxnChg>
      </pc:sldChg>
    </pc:docChg>
  </pc:docChgLst>
  <pc:docChgLst>
    <pc:chgData name="Stina Torell" userId="42ae74f8-9b92-4847-96bc-2e51e5bf7907" providerId="ADAL" clId="{8222E77C-B75B-4648-AAD8-E34B669EE4DB}"/>
    <pc:docChg chg="undo custSel addSld delSld modSld sldOrd modMainMaster">
      <pc:chgData name="Stina Torell" userId="42ae74f8-9b92-4847-96bc-2e51e5bf7907" providerId="ADAL" clId="{8222E77C-B75B-4648-AAD8-E34B669EE4DB}" dt="2022-04-26T15:10:56.457" v="11579" actId="403"/>
      <pc:docMkLst>
        <pc:docMk/>
      </pc:docMkLst>
      <pc:sldChg chg="del">
        <pc:chgData name="Stina Torell" userId="42ae74f8-9b92-4847-96bc-2e51e5bf7907" providerId="ADAL" clId="{8222E77C-B75B-4648-AAD8-E34B669EE4DB}" dt="2022-04-26T06:59:54.838" v="11422" actId="2696"/>
        <pc:sldMkLst>
          <pc:docMk/>
          <pc:sldMk cId="650108193" sldId="270"/>
        </pc:sldMkLst>
      </pc:sldChg>
      <pc:sldChg chg="add del">
        <pc:chgData name="Stina Torell" userId="42ae74f8-9b92-4847-96bc-2e51e5bf7907" providerId="ADAL" clId="{8222E77C-B75B-4648-AAD8-E34B669EE4DB}" dt="2022-04-26T06:59:54.838" v="11422" actId="2696"/>
        <pc:sldMkLst>
          <pc:docMk/>
          <pc:sldMk cId="1563630067" sldId="271"/>
        </pc:sldMkLst>
      </pc:sldChg>
      <pc:sldChg chg="modSp del mod ord">
        <pc:chgData name="Stina Torell" userId="42ae74f8-9b92-4847-96bc-2e51e5bf7907" providerId="ADAL" clId="{8222E77C-B75B-4648-AAD8-E34B669EE4DB}" dt="2022-04-11T20:08:05.813" v="6144" actId="2696"/>
        <pc:sldMkLst>
          <pc:docMk/>
          <pc:sldMk cId="3095307470" sldId="271"/>
        </pc:sldMkLst>
        <pc:spChg chg="mod">
          <ac:chgData name="Stina Torell" userId="42ae74f8-9b92-4847-96bc-2e51e5bf7907" providerId="ADAL" clId="{8222E77C-B75B-4648-AAD8-E34B669EE4DB}" dt="2022-03-29T09:07:09.803" v="24" actId="1035"/>
          <ac:spMkLst>
            <pc:docMk/>
            <pc:sldMk cId="3095307470" sldId="271"/>
            <ac:spMk id="92" creationId="{E2773201-072E-274C-B688-BD9E94BF823F}"/>
          </ac:spMkLst>
        </pc:spChg>
        <pc:cxnChg chg="mod">
          <ac:chgData name="Stina Torell" userId="42ae74f8-9b92-4847-96bc-2e51e5bf7907" providerId="ADAL" clId="{8222E77C-B75B-4648-AAD8-E34B669EE4DB}" dt="2022-03-29T09:08:34.864" v="28" actId="14100"/>
          <ac:cxnSpMkLst>
            <pc:docMk/>
            <pc:sldMk cId="3095307470" sldId="271"/>
            <ac:cxnSpMk id="28" creationId="{B566D6A6-DE76-E940-A1E9-13248014F781}"/>
          </ac:cxnSpMkLst>
        </pc:cxnChg>
        <pc:cxnChg chg="mod">
          <ac:chgData name="Stina Torell" userId="42ae74f8-9b92-4847-96bc-2e51e5bf7907" providerId="ADAL" clId="{8222E77C-B75B-4648-AAD8-E34B669EE4DB}" dt="2022-03-29T09:08:29.772" v="27" actId="14100"/>
          <ac:cxnSpMkLst>
            <pc:docMk/>
            <pc:sldMk cId="3095307470" sldId="271"/>
            <ac:cxnSpMk id="83" creationId="{4D7C5E1B-43A4-E842-9833-894FE264ADE7}"/>
          </ac:cxnSpMkLst>
        </pc:cxnChg>
      </pc:sldChg>
      <pc:sldChg chg="addSp delSp modSp add del mod modClrScheme chgLayout">
        <pc:chgData name="Stina Torell" userId="42ae74f8-9b92-4847-96bc-2e51e5bf7907" providerId="ADAL" clId="{8222E77C-B75B-4648-AAD8-E34B669EE4DB}" dt="2022-04-20T08:59:00.347" v="10575" actId="2696"/>
        <pc:sldMkLst>
          <pc:docMk/>
          <pc:sldMk cId="3798230775" sldId="696"/>
        </pc:sldMkLst>
        <pc:spChg chg="mod ord">
          <ac:chgData name="Stina Torell" userId="42ae74f8-9b92-4847-96bc-2e51e5bf7907" providerId="ADAL" clId="{8222E77C-B75B-4648-AAD8-E34B669EE4DB}" dt="2022-04-20T08:37:55.370" v="9647" actId="700"/>
          <ac:spMkLst>
            <pc:docMk/>
            <pc:sldMk cId="3798230775" sldId="696"/>
            <ac:spMk id="2" creationId="{E1C85511-80D2-9A4D-BBBA-AAE7A735BAE2}"/>
          </ac:spMkLst>
        </pc:spChg>
        <pc:spChg chg="mod ord">
          <ac:chgData name="Stina Torell" userId="42ae74f8-9b92-4847-96bc-2e51e5bf7907" providerId="ADAL" clId="{8222E77C-B75B-4648-AAD8-E34B669EE4DB}" dt="2022-04-20T08:37:55.370" v="9647" actId="700"/>
          <ac:spMkLst>
            <pc:docMk/>
            <pc:sldMk cId="3798230775" sldId="696"/>
            <ac:spMk id="3" creationId="{D4F3E927-D3F3-094F-9442-5078485FF3B9}"/>
          </ac:spMkLst>
        </pc:spChg>
        <pc:spChg chg="mod">
          <ac:chgData name="Stina Torell" userId="42ae74f8-9b92-4847-96bc-2e51e5bf7907" providerId="ADAL" clId="{8222E77C-B75B-4648-AAD8-E34B669EE4DB}" dt="2022-04-20T08:37:36.427" v="9646" actId="1036"/>
          <ac:spMkLst>
            <pc:docMk/>
            <pc:sldMk cId="3798230775" sldId="696"/>
            <ac:spMk id="4" creationId="{1029BC84-9C0B-9F49-85A1-951CA974FD56}"/>
          </ac:spMkLst>
        </pc:spChg>
        <pc:spChg chg="add del mod ord">
          <ac:chgData name="Stina Torell" userId="42ae74f8-9b92-4847-96bc-2e51e5bf7907" providerId="ADAL" clId="{8222E77C-B75B-4648-AAD8-E34B669EE4DB}" dt="2022-04-20T08:38:24.019" v="9648" actId="478"/>
          <ac:spMkLst>
            <pc:docMk/>
            <pc:sldMk cId="3798230775" sldId="696"/>
            <ac:spMk id="5" creationId="{C0ED9F84-F94D-1749-81F0-B581C46FD772}"/>
          </ac:spMkLst>
        </pc:spChg>
        <pc:spChg chg="mod">
          <ac:chgData name="Stina Torell" userId="42ae74f8-9b92-4847-96bc-2e51e5bf7907" providerId="ADAL" clId="{8222E77C-B75B-4648-AAD8-E34B669EE4DB}" dt="2022-04-20T08:37:36.427" v="9646" actId="1036"/>
          <ac:spMkLst>
            <pc:docMk/>
            <pc:sldMk cId="3798230775" sldId="696"/>
            <ac:spMk id="7" creationId="{1FBB10D7-4502-D442-B8CE-11CA64AB5153}"/>
          </ac:spMkLst>
        </pc:spChg>
        <pc:spChg chg="mod">
          <ac:chgData name="Stina Torell" userId="42ae74f8-9b92-4847-96bc-2e51e5bf7907" providerId="ADAL" clId="{8222E77C-B75B-4648-AAD8-E34B669EE4DB}" dt="2022-04-20T08:44:18.734" v="10000" actId="1076"/>
          <ac:spMkLst>
            <pc:docMk/>
            <pc:sldMk cId="3798230775" sldId="696"/>
            <ac:spMk id="12" creationId="{BE0C4843-E1B2-4E4B-B818-09C1A7600638}"/>
          </ac:spMkLst>
        </pc:spChg>
        <pc:graphicFrameChg chg="mod">
          <ac:chgData name="Stina Torell" userId="42ae74f8-9b92-4847-96bc-2e51e5bf7907" providerId="ADAL" clId="{8222E77C-B75B-4648-AAD8-E34B669EE4DB}" dt="2022-04-20T08:37:36.427" v="9646" actId="1036"/>
          <ac:graphicFrameMkLst>
            <pc:docMk/>
            <pc:sldMk cId="3798230775" sldId="696"/>
            <ac:graphicFrameMk id="11" creationId="{9782C9D8-F8D8-3049-B424-EB65960FB7AF}"/>
          </ac:graphicFrameMkLst>
        </pc:graphicFrameChg>
      </pc:sldChg>
      <pc:sldChg chg="addSp delSp modSp add del mod ord modClrScheme modShow modCm chgLayout">
        <pc:chgData name="Stina Torell" userId="42ae74f8-9b92-4847-96bc-2e51e5bf7907" providerId="ADAL" clId="{8222E77C-B75B-4648-AAD8-E34B669EE4DB}" dt="2022-04-26T06:59:54.838" v="11422" actId="2696"/>
        <pc:sldMkLst>
          <pc:docMk/>
          <pc:sldMk cId="1677377180" sldId="720"/>
        </pc:sldMkLst>
        <pc:spChg chg="mod ord">
          <ac:chgData name="Stina Torell" userId="42ae74f8-9b92-4847-96bc-2e51e5bf7907" providerId="ADAL" clId="{8222E77C-B75B-4648-AAD8-E34B669EE4DB}" dt="2022-04-20T11:24:58.379" v="10647" actId="700"/>
          <ac:spMkLst>
            <pc:docMk/>
            <pc:sldMk cId="1677377180" sldId="720"/>
            <ac:spMk id="2" creationId="{9A3C37B3-916E-B74E-8C9A-F03CE8A3FA12}"/>
          </ac:spMkLst>
        </pc:spChg>
        <pc:spChg chg="mod">
          <ac:chgData name="Stina Torell" userId="42ae74f8-9b92-4847-96bc-2e51e5bf7907" providerId="ADAL" clId="{8222E77C-B75B-4648-AAD8-E34B669EE4DB}" dt="2022-04-20T08:55:27.582" v="10044" actId="14100"/>
          <ac:spMkLst>
            <pc:docMk/>
            <pc:sldMk cId="1677377180" sldId="720"/>
            <ac:spMk id="4" creationId="{7C6A233E-1FA7-D04B-8812-C19A957C93CD}"/>
          </ac:spMkLst>
        </pc:spChg>
        <pc:spChg chg="add mod">
          <ac:chgData name="Stina Torell" userId="42ae74f8-9b92-4847-96bc-2e51e5bf7907" providerId="ADAL" clId="{8222E77C-B75B-4648-AAD8-E34B669EE4DB}" dt="2022-04-20T08:59:27.325" v="10586" actId="20577"/>
          <ac:spMkLst>
            <pc:docMk/>
            <pc:sldMk cId="1677377180" sldId="720"/>
            <ac:spMk id="5" creationId="{C17C3673-D034-2A46-9A3A-CB8D8574FB76}"/>
          </ac:spMkLst>
        </pc:spChg>
        <pc:spChg chg="add del mod ord">
          <ac:chgData name="Stina Torell" userId="42ae74f8-9b92-4847-96bc-2e51e5bf7907" providerId="ADAL" clId="{8222E77C-B75B-4648-AAD8-E34B669EE4DB}" dt="2022-04-20T11:25:08.897" v="10648" actId="478"/>
          <ac:spMkLst>
            <pc:docMk/>
            <pc:sldMk cId="1677377180" sldId="720"/>
            <ac:spMk id="6" creationId="{0980B10C-A537-7C4B-8EAC-C50B443F53DB}"/>
          </ac:spMkLst>
        </pc:spChg>
        <pc:spChg chg="mod">
          <ac:chgData name="Stina Torell" userId="42ae74f8-9b92-4847-96bc-2e51e5bf7907" providerId="ADAL" clId="{8222E77C-B75B-4648-AAD8-E34B669EE4DB}" dt="2022-04-20T08:55:27.582" v="10044" actId="14100"/>
          <ac:spMkLst>
            <pc:docMk/>
            <pc:sldMk cId="1677377180" sldId="720"/>
            <ac:spMk id="53" creationId="{D99A50ED-1BF4-1747-B1B6-FF8D31E81365}"/>
          </ac:spMkLst>
        </pc:spChg>
        <pc:spChg chg="mod">
          <ac:chgData name="Stina Torell" userId="42ae74f8-9b92-4847-96bc-2e51e5bf7907" providerId="ADAL" clId="{8222E77C-B75B-4648-AAD8-E34B669EE4DB}" dt="2022-04-20T08:55:27.582" v="10044" actId="14100"/>
          <ac:spMkLst>
            <pc:docMk/>
            <pc:sldMk cId="1677377180" sldId="720"/>
            <ac:spMk id="55" creationId="{6967590D-F8C9-9844-90D3-F6162B59465A}"/>
          </ac:spMkLst>
        </pc:spChg>
        <pc:spChg chg="mod">
          <ac:chgData name="Stina Torell" userId="42ae74f8-9b92-4847-96bc-2e51e5bf7907" providerId="ADAL" clId="{8222E77C-B75B-4648-AAD8-E34B669EE4DB}" dt="2022-04-20T08:55:27.582" v="10044" actId="14100"/>
          <ac:spMkLst>
            <pc:docMk/>
            <pc:sldMk cId="1677377180" sldId="720"/>
            <ac:spMk id="58" creationId="{FBE9B74A-7327-A545-800C-67B2E48887B9}"/>
          </ac:spMkLst>
        </pc:spChg>
        <pc:spChg chg="mod">
          <ac:chgData name="Stina Torell" userId="42ae74f8-9b92-4847-96bc-2e51e5bf7907" providerId="ADAL" clId="{8222E77C-B75B-4648-AAD8-E34B669EE4DB}" dt="2022-04-20T08:55:27.582" v="10044" actId="14100"/>
          <ac:spMkLst>
            <pc:docMk/>
            <pc:sldMk cId="1677377180" sldId="720"/>
            <ac:spMk id="60" creationId="{546E57BF-008A-6A49-B1DC-E079C7D576F4}"/>
          </ac:spMkLst>
        </pc:spChg>
        <pc:spChg chg="add mod">
          <ac:chgData name="Stina Torell" userId="42ae74f8-9b92-4847-96bc-2e51e5bf7907" providerId="ADAL" clId="{8222E77C-B75B-4648-AAD8-E34B669EE4DB}" dt="2022-04-20T08:56:06.473" v="10048" actId="1036"/>
          <ac:spMkLst>
            <pc:docMk/>
            <pc:sldMk cId="1677377180" sldId="720"/>
            <ac:spMk id="63" creationId="{F1C84679-10E8-A94F-889E-90273514C959}"/>
          </ac:spMkLst>
        </pc:spChg>
        <pc:spChg chg="add mod">
          <ac:chgData name="Stina Torell" userId="42ae74f8-9b92-4847-96bc-2e51e5bf7907" providerId="ADAL" clId="{8222E77C-B75B-4648-AAD8-E34B669EE4DB}" dt="2022-04-20T08:56:06.473" v="10048" actId="1036"/>
          <ac:spMkLst>
            <pc:docMk/>
            <pc:sldMk cId="1677377180" sldId="720"/>
            <ac:spMk id="65" creationId="{19868F85-52E1-1B4B-AA8F-9277FA4B6B14}"/>
          </ac:spMkLst>
        </pc:spChg>
        <pc:spChg chg="add mod">
          <ac:chgData name="Stina Torell" userId="42ae74f8-9b92-4847-96bc-2e51e5bf7907" providerId="ADAL" clId="{8222E77C-B75B-4648-AAD8-E34B669EE4DB}" dt="2022-04-20T08:54:03.931" v="10038" actId="208"/>
          <ac:spMkLst>
            <pc:docMk/>
            <pc:sldMk cId="1677377180" sldId="720"/>
            <ac:spMk id="66" creationId="{80E403B5-ABEE-D247-B891-C5291A3C324E}"/>
          </ac:spMkLst>
        </pc:spChg>
        <pc:spChg chg="mod">
          <ac:chgData name="Stina Torell" userId="42ae74f8-9b92-4847-96bc-2e51e5bf7907" providerId="ADAL" clId="{8222E77C-B75B-4648-AAD8-E34B669EE4DB}" dt="2022-04-20T08:55:27.582" v="10044" actId="14100"/>
          <ac:spMkLst>
            <pc:docMk/>
            <pc:sldMk cId="1677377180" sldId="720"/>
            <ac:spMk id="68" creationId="{98647605-5B0C-0340-8D71-23339F985CE9}"/>
          </ac:spMkLst>
        </pc:spChg>
        <pc:spChg chg="mod">
          <ac:chgData name="Stina Torell" userId="42ae74f8-9b92-4847-96bc-2e51e5bf7907" providerId="ADAL" clId="{8222E77C-B75B-4648-AAD8-E34B669EE4DB}" dt="2022-04-20T08:55:27.582" v="10044" actId="14100"/>
          <ac:spMkLst>
            <pc:docMk/>
            <pc:sldMk cId="1677377180" sldId="720"/>
            <ac:spMk id="69" creationId="{CAC63E15-4DD7-2949-A9BD-CB9B2414315C}"/>
          </ac:spMkLst>
        </pc:spChg>
        <pc:spChg chg="mod">
          <ac:chgData name="Stina Torell" userId="42ae74f8-9b92-4847-96bc-2e51e5bf7907" providerId="ADAL" clId="{8222E77C-B75B-4648-AAD8-E34B669EE4DB}" dt="2022-04-20T08:55:27.582" v="10044" actId="14100"/>
          <ac:spMkLst>
            <pc:docMk/>
            <pc:sldMk cId="1677377180" sldId="720"/>
            <ac:spMk id="70" creationId="{E8E510CC-D6AA-CA45-8B34-576047CD592F}"/>
          </ac:spMkLst>
        </pc:spChg>
        <pc:spChg chg="mod">
          <ac:chgData name="Stina Torell" userId="42ae74f8-9b92-4847-96bc-2e51e5bf7907" providerId="ADAL" clId="{8222E77C-B75B-4648-AAD8-E34B669EE4DB}" dt="2022-04-20T08:55:27.582" v="10044" actId="14100"/>
          <ac:spMkLst>
            <pc:docMk/>
            <pc:sldMk cId="1677377180" sldId="720"/>
            <ac:spMk id="71" creationId="{9DED6606-68C2-EF4C-8CE1-9E73854774D3}"/>
          </ac:spMkLst>
        </pc:spChg>
        <pc:spChg chg="mod">
          <ac:chgData name="Stina Torell" userId="42ae74f8-9b92-4847-96bc-2e51e5bf7907" providerId="ADAL" clId="{8222E77C-B75B-4648-AAD8-E34B669EE4DB}" dt="2022-04-20T08:55:27.582" v="10044" actId="14100"/>
          <ac:spMkLst>
            <pc:docMk/>
            <pc:sldMk cId="1677377180" sldId="720"/>
            <ac:spMk id="72" creationId="{DAADC672-F136-B04C-B872-E7771CD32584}"/>
          </ac:spMkLst>
        </pc:spChg>
        <pc:spChg chg="mod">
          <ac:chgData name="Stina Torell" userId="42ae74f8-9b92-4847-96bc-2e51e5bf7907" providerId="ADAL" clId="{8222E77C-B75B-4648-AAD8-E34B669EE4DB}" dt="2022-04-20T08:55:27.582" v="10044" actId="14100"/>
          <ac:spMkLst>
            <pc:docMk/>
            <pc:sldMk cId="1677377180" sldId="720"/>
            <ac:spMk id="73" creationId="{F82F2127-BEAD-2749-BCC2-A8AEF17106E8}"/>
          </ac:spMkLst>
        </pc:spChg>
        <pc:spChg chg="mod">
          <ac:chgData name="Stina Torell" userId="42ae74f8-9b92-4847-96bc-2e51e5bf7907" providerId="ADAL" clId="{8222E77C-B75B-4648-AAD8-E34B669EE4DB}" dt="2022-04-20T08:55:27.582" v="10044" actId="14100"/>
          <ac:spMkLst>
            <pc:docMk/>
            <pc:sldMk cId="1677377180" sldId="720"/>
            <ac:spMk id="149" creationId="{0F100644-7DAB-D943-960D-A5A096E0E9C2}"/>
          </ac:spMkLst>
        </pc:spChg>
        <pc:spChg chg="mod">
          <ac:chgData name="Stina Torell" userId="42ae74f8-9b92-4847-96bc-2e51e5bf7907" providerId="ADAL" clId="{8222E77C-B75B-4648-AAD8-E34B669EE4DB}" dt="2022-04-20T08:55:27.582" v="10044" actId="14100"/>
          <ac:spMkLst>
            <pc:docMk/>
            <pc:sldMk cId="1677377180" sldId="720"/>
            <ac:spMk id="150" creationId="{9678B72A-0E4E-8946-A8C6-8ED1530570C6}"/>
          </ac:spMkLst>
        </pc:spChg>
        <pc:spChg chg="mod">
          <ac:chgData name="Stina Torell" userId="42ae74f8-9b92-4847-96bc-2e51e5bf7907" providerId="ADAL" clId="{8222E77C-B75B-4648-AAD8-E34B669EE4DB}" dt="2022-04-20T08:55:27.582" v="10044" actId="14100"/>
          <ac:spMkLst>
            <pc:docMk/>
            <pc:sldMk cId="1677377180" sldId="720"/>
            <ac:spMk id="151" creationId="{C098B728-F30A-DB43-BB49-0789BCE1969F}"/>
          </ac:spMkLst>
        </pc:spChg>
        <pc:spChg chg="mod">
          <ac:chgData name="Stina Torell" userId="42ae74f8-9b92-4847-96bc-2e51e5bf7907" providerId="ADAL" clId="{8222E77C-B75B-4648-AAD8-E34B669EE4DB}" dt="2022-04-20T08:55:27.582" v="10044" actId="14100"/>
          <ac:spMkLst>
            <pc:docMk/>
            <pc:sldMk cId="1677377180" sldId="720"/>
            <ac:spMk id="10259" creationId="{2AC7689B-D4C2-2F41-A841-487CEBF532A8}"/>
          </ac:spMkLst>
        </pc:spChg>
        <pc:grpChg chg="add mod">
          <ac:chgData name="Stina Torell" userId="42ae74f8-9b92-4847-96bc-2e51e5bf7907" providerId="ADAL" clId="{8222E77C-B75B-4648-AAD8-E34B669EE4DB}" dt="2022-04-20T08:55:27.582" v="10044" actId="14100"/>
          <ac:grpSpMkLst>
            <pc:docMk/>
            <pc:sldMk cId="1677377180" sldId="720"/>
            <ac:grpSpMk id="3" creationId="{DBA7D5FC-EF50-BD46-9B14-8FC4B4ADA677}"/>
          </ac:grpSpMkLst>
        </pc:grpChg>
        <pc:grpChg chg="mod">
          <ac:chgData name="Stina Torell" userId="42ae74f8-9b92-4847-96bc-2e51e5bf7907" providerId="ADAL" clId="{8222E77C-B75B-4648-AAD8-E34B669EE4DB}" dt="2022-04-20T08:55:27.582" v="10044" actId="14100"/>
          <ac:grpSpMkLst>
            <pc:docMk/>
            <pc:sldMk cId="1677377180" sldId="720"/>
            <ac:grpSpMk id="51" creationId="{9F3873D0-96B8-154A-A9D5-FE9833F0022B}"/>
          </ac:grpSpMkLst>
        </pc:grpChg>
        <pc:graphicFrameChg chg="add mod">
          <ac:chgData name="Stina Torell" userId="42ae74f8-9b92-4847-96bc-2e51e5bf7907" providerId="ADAL" clId="{8222E77C-B75B-4648-AAD8-E34B669EE4DB}" dt="2022-04-20T08:53:43.082" v="10034" actId="1076"/>
          <ac:graphicFrameMkLst>
            <pc:docMk/>
            <pc:sldMk cId="1677377180" sldId="720"/>
            <ac:graphicFrameMk id="64" creationId="{74FE6E5E-BF25-2C4A-BFB6-07C77A7B2A86}"/>
          </ac:graphicFrameMkLst>
        </pc:graphicFrameChg>
        <pc:picChg chg="mod">
          <ac:chgData name="Stina Torell" userId="42ae74f8-9b92-4847-96bc-2e51e5bf7907" providerId="ADAL" clId="{8222E77C-B75B-4648-AAD8-E34B669EE4DB}" dt="2022-04-20T08:55:27.582" v="10044" actId="14100"/>
          <ac:picMkLst>
            <pc:docMk/>
            <pc:sldMk cId="1677377180" sldId="720"/>
            <ac:picMk id="12" creationId="{9AEACF0E-F1B9-C64B-BB76-301512F83F51}"/>
          </ac:picMkLst>
        </pc:picChg>
        <pc:picChg chg="mod">
          <ac:chgData name="Stina Torell" userId="42ae74f8-9b92-4847-96bc-2e51e5bf7907" providerId="ADAL" clId="{8222E77C-B75B-4648-AAD8-E34B669EE4DB}" dt="2022-04-20T08:55:27.582" v="10044" actId="14100"/>
          <ac:picMkLst>
            <pc:docMk/>
            <pc:sldMk cId="1677377180" sldId="720"/>
            <ac:picMk id="13" creationId="{6855B6E9-FAA7-E44A-A8C6-6E0D2D33DF75}"/>
          </ac:picMkLst>
        </pc:picChg>
        <pc:picChg chg="mod">
          <ac:chgData name="Stina Torell" userId="42ae74f8-9b92-4847-96bc-2e51e5bf7907" providerId="ADAL" clId="{8222E77C-B75B-4648-AAD8-E34B669EE4DB}" dt="2022-04-20T08:55:27.582" v="10044" actId="14100"/>
          <ac:picMkLst>
            <pc:docMk/>
            <pc:sldMk cId="1677377180" sldId="720"/>
            <ac:picMk id="14" creationId="{CF6B38C6-FC2E-124C-B475-7479C909D4CA}"/>
          </ac:picMkLst>
        </pc:picChg>
        <pc:picChg chg="mod">
          <ac:chgData name="Stina Torell" userId="42ae74f8-9b92-4847-96bc-2e51e5bf7907" providerId="ADAL" clId="{8222E77C-B75B-4648-AAD8-E34B669EE4DB}" dt="2022-04-20T08:55:27.582" v="10044" actId="14100"/>
          <ac:picMkLst>
            <pc:docMk/>
            <pc:sldMk cId="1677377180" sldId="720"/>
            <ac:picMk id="20" creationId="{2EA5A782-3E86-9E4B-A10D-52DD46893DA0}"/>
          </ac:picMkLst>
        </pc:picChg>
        <pc:picChg chg="mod">
          <ac:chgData name="Stina Torell" userId="42ae74f8-9b92-4847-96bc-2e51e5bf7907" providerId="ADAL" clId="{8222E77C-B75B-4648-AAD8-E34B669EE4DB}" dt="2022-04-20T08:55:27.582" v="10044" actId="14100"/>
          <ac:picMkLst>
            <pc:docMk/>
            <pc:sldMk cId="1677377180" sldId="720"/>
            <ac:picMk id="21" creationId="{750927E8-ADAA-8E46-B5C9-CE5490242712}"/>
          </ac:picMkLst>
        </pc:picChg>
        <pc:picChg chg="mod">
          <ac:chgData name="Stina Torell" userId="42ae74f8-9b92-4847-96bc-2e51e5bf7907" providerId="ADAL" clId="{8222E77C-B75B-4648-AAD8-E34B669EE4DB}" dt="2022-04-20T08:55:27.582" v="10044" actId="14100"/>
          <ac:picMkLst>
            <pc:docMk/>
            <pc:sldMk cId="1677377180" sldId="720"/>
            <ac:picMk id="22" creationId="{BB85DB49-85C8-0C4B-9860-BCAFE1C4D741}"/>
          </ac:picMkLst>
        </pc:picChg>
        <pc:picChg chg="mod">
          <ac:chgData name="Stina Torell" userId="42ae74f8-9b92-4847-96bc-2e51e5bf7907" providerId="ADAL" clId="{8222E77C-B75B-4648-AAD8-E34B669EE4DB}" dt="2022-04-20T08:55:27.582" v="10044" actId="14100"/>
          <ac:picMkLst>
            <pc:docMk/>
            <pc:sldMk cId="1677377180" sldId="720"/>
            <ac:picMk id="23" creationId="{1CC8C004-9D8A-5144-A5F8-7FAF193492C4}"/>
          </ac:picMkLst>
        </pc:picChg>
        <pc:picChg chg="mod">
          <ac:chgData name="Stina Torell" userId="42ae74f8-9b92-4847-96bc-2e51e5bf7907" providerId="ADAL" clId="{8222E77C-B75B-4648-AAD8-E34B669EE4DB}" dt="2022-04-20T08:55:27.582" v="10044" actId="14100"/>
          <ac:picMkLst>
            <pc:docMk/>
            <pc:sldMk cId="1677377180" sldId="720"/>
            <ac:picMk id="24" creationId="{B3244B08-A506-D148-B64A-48FD09F67FFF}"/>
          </ac:picMkLst>
        </pc:picChg>
        <pc:picChg chg="mod">
          <ac:chgData name="Stina Torell" userId="42ae74f8-9b92-4847-96bc-2e51e5bf7907" providerId="ADAL" clId="{8222E77C-B75B-4648-AAD8-E34B669EE4DB}" dt="2022-04-20T08:55:27.582" v="10044" actId="14100"/>
          <ac:picMkLst>
            <pc:docMk/>
            <pc:sldMk cId="1677377180" sldId="720"/>
            <ac:picMk id="25" creationId="{8778531E-4EA1-D845-89DF-4622E69E3EB4}"/>
          </ac:picMkLst>
        </pc:picChg>
        <pc:picChg chg="mod">
          <ac:chgData name="Stina Torell" userId="42ae74f8-9b92-4847-96bc-2e51e5bf7907" providerId="ADAL" clId="{8222E77C-B75B-4648-AAD8-E34B669EE4DB}" dt="2022-04-20T08:55:27.582" v="10044" actId="14100"/>
          <ac:picMkLst>
            <pc:docMk/>
            <pc:sldMk cId="1677377180" sldId="720"/>
            <ac:picMk id="26" creationId="{6B0EF2C4-CD20-C846-A759-34F2F3614AA7}"/>
          </ac:picMkLst>
        </pc:picChg>
        <pc:picChg chg="mod">
          <ac:chgData name="Stina Torell" userId="42ae74f8-9b92-4847-96bc-2e51e5bf7907" providerId="ADAL" clId="{8222E77C-B75B-4648-AAD8-E34B669EE4DB}" dt="2022-04-20T08:55:27.582" v="10044" actId="14100"/>
          <ac:picMkLst>
            <pc:docMk/>
            <pc:sldMk cId="1677377180" sldId="720"/>
            <ac:picMk id="27" creationId="{D92A2765-248D-854F-8FC0-F5332E46F4AF}"/>
          </ac:picMkLst>
        </pc:picChg>
        <pc:picChg chg="mod">
          <ac:chgData name="Stina Torell" userId="42ae74f8-9b92-4847-96bc-2e51e5bf7907" providerId="ADAL" clId="{8222E77C-B75B-4648-AAD8-E34B669EE4DB}" dt="2022-04-20T08:55:27.582" v="10044" actId="14100"/>
          <ac:picMkLst>
            <pc:docMk/>
            <pc:sldMk cId="1677377180" sldId="720"/>
            <ac:picMk id="28" creationId="{9B641675-90B6-E64B-ADB4-68ACDA9B3428}"/>
          </ac:picMkLst>
        </pc:picChg>
        <pc:picChg chg="mod">
          <ac:chgData name="Stina Torell" userId="42ae74f8-9b92-4847-96bc-2e51e5bf7907" providerId="ADAL" clId="{8222E77C-B75B-4648-AAD8-E34B669EE4DB}" dt="2022-04-20T08:55:27.582" v="10044" actId="14100"/>
          <ac:picMkLst>
            <pc:docMk/>
            <pc:sldMk cId="1677377180" sldId="720"/>
            <ac:picMk id="29" creationId="{A90C116B-7855-004D-855C-7A599A4347FD}"/>
          </ac:picMkLst>
        </pc:picChg>
        <pc:picChg chg="mod">
          <ac:chgData name="Stina Torell" userId="42ae74f8-9b92-4847-96bc-2e51e5bf7907" providerId="ADAL" clId="{8222E77C-B75B-4648-AAD8-E34B669EE4DB}" dt="2022-04-20T08:55:27.582" v="10044" actId="14100"/>
          <ac:picMkLst>
            <pc:docMk/>
            <pc:sldMk cId="1677377180" sldId="720"/>
            <ac:picMk id="30" creationId="{FAFB4F2C-F770-534D-B267-2EA2D9F7560B}"/>
          </ac:picMkLst>
        </pc:picChg>
        <pc:picChg chg="mod">
          <ac:chgData name="Stina Torell" userId="42ae74f8-9b92-4847-96bc-2e51e5bf7907" providerId="ADAL" clId="{8222E77C-B75B-4648-AAD8-E34B669EE4DB}" dt="2022-04-20T08:55:27.582" v="10044" actId="14100"/>
          <ac:picMkLst>
            <pc:docMk/>
            <pc:sldMk cId="1677377180" sldId="720"/>
            <ac:picMk id="31" creationId="{2ED15B16-F4E6-0B47-8605-ACE0A8AE881E}"/>
          </ac:picMkLst>
        </pc:picChg>
        <pc:picChg chg="mod">
          <ac:chgData name="Stina Torell" userId="42ae74f8-9b92-4847-96bc-2e51e5bf7907" providerId="ADAL" clId="{8222E77C-B75B-4648-AAD8-E34B669EE4DB}" dt="2022-04-20T08:55:27.582" v="10044" actId="14100"/>
          <ac:picMkLst>
            <pc:docMk/>
            <pc:sldMk cId="1677377180" sldId="720"/>
            <ac:picMk id="32" creationId="{94A2715B-38F2-554B-A349-B5765EC2A780}"/>
          </ac:picMkLst>
        </pc:picChg>
        <pc:picChg chg="mod">
          <ac:chgData name="Stina Torell" userId="42ae74f8-9b92-4847-96bc-2e51e5bf7907" providerId="ADAL" clId="{8222E77C-B75B-4648-AAD8-E34B669EE4DB}" dt="2022-04-20T08:55:27.582" v="10044" actId="14100"/>
          <ac:picMkLst>
            <pc:docMk/>
            <pc:sldMk cId="1677377180" sldId="720"/>
            <ac:picMk id="33" creationId="{195D86FF-4C50-0B4B-81F5-5C60FF8FCBD4}"/>
          </ac:picMkLst>
        </pc:picChg>
        <pc:picChg chg="mod">
          <ac:chgData name="Stina Torell" userId="42ae74f8-9b92-4847-96bc-2e51e5bf7907" providerId="ADAL" clId="{8222E77C-B75B-4648-AAD8-E34B669EE4DB}" dt="2022-04-20T08:55:27.582" v="10044" actId="14100"/>
          <ac:picMkLst>
            <pc:docMk/>
            <pc:sldMk cId="1677377180" sldId="720"/>
            <ac:picMk id="34" creationId="{1C6BC73F-EAC0-7C4B-9815-0E652C1F1B03}"/>
          </ac:picMkLst>
        </pc:picChg>
        <pc:picChg chg="mod">
          <ac:chgData name="Stina Torell" userId="42ae74f8-9b92-4847-96bc-2e51e5bf7907" providerId="ADAL" clId="{8222E77C-B75B-4648-AAD8-E34B669EE4DB}" dt="2022-04-20T08:55:27.582" v="10044" actId="14100"/>
          <ac:picMkLst>
            <pc:docMk/>
            <pc:sldMk cId="1677377180" sldId="720"/>
            <ac:picMk id="35" creationId="{886490CC-C2C5-AC4A-BEB3-FBE52097EBB2}"/>
          </ac:picMkLst>
        </pc:picChg>
        <pc:picChg chg="mod">
          <ac:chgData name="Stina Torell" userId="42ae74f8-9b92-4847-96bc-2e51e5bf7907" providerId="ADAL" clId="{8222E77C-B75B-4648-AAD8-E34B669EE4DB}" dt="2022-04-20T08:55:27.582" v="10044" actId="14100"/>
          <ac:picMkLst>
            <pc:docMk/>
            <pc:sldMk cId="1677377180" sldId="720"/>
            <ac:picMk id="36" creationId="{2C9ED7AD-80A1-7F49-B66F-C168C2067B1A}"/>
          </ac:picMkLst>
        </pc:picChg>
        <pc:picChg chg="mod">
          <ac:chgData name="Stina Torell" userId="42ae74f8-9b92-4847-96bc-2e51e5bf7907" providerId="ADAL" clId="{8222E77C-B75B-4648-AAD8-E34B669EE4DB}" dt="2022-04-20T08:55:27.582" v="10044" actId="14100"/>
          <ac:picMkLst>
            <pc:docMk/>
            <pc:sldMk cId="1677377180" sldId="720"/>
            <ac:picMk id="37" creationId="{7B62EED2-19F1-CA49-885E-85A2BF561493}"/>
          </ac:picMkLst>
        </pc:picChg>
        <pc:picChg chg="mod">
          <ac:chgData name="Stina Torell" userId="42ae74f8-9b92-4847-96bc-2e51e5bf7907" providerId="ADAL" clId="{8222E77C-B75B-4648-AAD8-E34B669EE4DB}" dt="2022-04-20T08:55:27.582" v="10044" actId="14100"/>
          <ac:picMkLst>
            <pc:docMk/>
            <pc:sldMk cId="1677377180" sldId="720"/>
            <ac:picMk id="38" creationId="{DCD09EF8-8D88-B94A-B5E9-002EF39E21F4}"/>
          </ac:picMkLst>
        </pc:picChg>
        <pc:picChg chg="mod">
          <ac:chgData name="Stina Torell" userId="42ae74f8-9b92-4847-96bc-2e51e5bf7907" providerId="ADAL" clId="{8222E77C-B75B-4648-AAD8-E34B669EE4DB}" dt="2022-04-20T08:58:55.707" v="10574" actId="1038"/>
          <ac:picMkLst>
            <pc:docMk/>
            <pc:sldMk cId="1677377180" sldId="720"/>
            <ac:picMk id="40" creationId="{36E1E9DA-8098-704E-AEA1-90A63F86D664}"/>
          </ac:picMkLst>
        </pc:picChg>
        <pc:picChg chg="mod">
          <ac:chgData name="Stina Torell" userId="42ae74f8-9b92-4847-96bc-2e51e5bf7907" providerId="ADAL" clId="{8222E77C-B75B-4648-AAD8-E34B669EE4DB}" dt="2022-04-20T08:55:27.582" v="10044" actId="14100"/>
          <ac:picMkLst>
            <pc:docMk/>
            <pc:sldMk cId="1677377180" sldId="720"/>
            <ac:picMk id="41" creationId="{4919FEF4-1752-CF4E-AECD-CCD8228B0BB3}"/>
          </ac:picMkLst>
        </pc:picChg>
        <pc:picChg chg="mod">
          <ac:chgData name="Stina Torell" userId="42ae74f8-9b92-4847-96bc-2e51e5bf7907" providerId="ADAL" clId="{8222E77C-B75B-4648-AAD8-E34B669EE4DB}" dt="2022-04-20T08:55:27.582" v="10044" actId="14100"/>
          <ac:picMkLst>
            <pc:docMk/>
            <pc:sldMk cId="1677377180" sldId="720"/>
            <ac:picMk id="42" creationId="{2DD57A05-EBC7-8045-908E-234466AE78B6}"/>
          </ac:picMkLst>
        </pc:picChg>
        <pc:picChg chg="mod">
          <ac:chgData name="Stina Torell" userId="42ae74f8-9b92-4847-96bc-2e51e5bf7907" providerId="ADAL" clId="{8222E77C-B75B-4648-AAD8-E34B669EE4DB}" dt="2022-04-20T08:55:27.582" v="10044" actId="14100"/>
          <ac:picMkLst>
            <pc:docMk/>
            <pc:sldMk cId="1677377180" sldId="720"/>
            <ac:picMk id="43" creationId="{BFFE99A9-029F-B542-BD13-47AC18136568}"/>
          </ac:picMkLst>
        </pc:picChg>
        <pc:picChg chg="mod">
          <ac:chgData name="Stina Torell" userId="42ae74f8-9b92-4847-96bc-2e51e5bf7907" providerId="ADAL" clId="{8222E77C-B75B-4648-AAD8-E34B669EE4DB}" dt="2022-04-20T08:55:27.582" v="10044" actId="14100"/>
          <ac:picMkLst>
            <pc:docMk/>
            <pc:sldMk cId="1677377180" sldId="720"/>
            <ac:picMk id="44" creationId="{97D15FF5-88E9-B54A-B1AD-D910848909CF}"/>
          </ac:picMkLst>
        </pc:picChg>
        <pc:picChg chg="mod">
          <ac:chgData name="Stina Torell" userId="42ae74f8-9b92-4847-96bc-2e51e5bf7907" providerId="ADAL" clId="{8222E77C-B75B-4648-AAD8-E34B669EE4DB}" dt="2022-04-20T08:55:27.582" v="10044" actId="14100"/>
          <ac:picMkLst>
            <pc:docMk/>
            <pc:sldMk cId="1677377180" sldId="720"/>
            <ac:picMk id="45" creationId="{82585ADC-54E6-DA4C-93D8-B3FB6461CE78}"/>
          </ac:picMkLst>
        </pc:picChg>
        <pc:picChg chg="mod">
          <ac:chgData name="Stina Torell" userId="42ae74f8-9b92-4847-96bc-2e51e5bf7907" providerId="ADAL" clId="{8222E77C-B75B-4648-AAD8-E34B669EE4DB}" dt="2022-04-20T08:55:27.582" v="10044" actId="14100"/>
          <ac:picMkLst>
            <pc:docMk/>
            <pc:sldMk cId="1677377180" sldId="720"/>
            <ac:picMk id="47" creationId="{4BD34C75-802B-C644-9A29-A03E8B1547DC}"/>
          </ac:picMkLst>
        </pc:picChg>
        <pc:picChg chg="mod">
          <ac:chgData name="Stina Torell" userId="42ae74f8-9b92-4847-96bc-2e51e5bf7907" providerId="ADAL" clId="{8222E77C-B75B-4648-AAD8-E34B669EE4DB}" dt="2022-04-20T08:55:27.582" v="10044" actId="14100"/>
          <ac:picMkLst>
            <pc:docMk/>
            <pc:sldMk cId="1677377180" sldId="720"/>
            <ac:picMk id="48" creationId="{C72B7C88-A5F1-434A-B2EA-46DB266AB686}"/>
          </ac:picMkLst>
        </pc:picChg>
        <pc:picChg chg="mod">
          <ac:chgData name="Stina Torell" userId="42ae74f8-9b92-4847-96bc-2e51e5bf7907" providerId="ADAL" clId="{8222E77C-B75B-4648-AAD8-E34B669EE4DB}" dt="2022-04-20T08:55:27.582" v="10044" actId="14100"/>
          <ac:picMkLst>
            <pc:docMk/>
            <pc:sldMk cId="1677377180" sldId="720"/>
            <ac:picMk id="49" creationId="{4C8AB045-F632-6D4C-B38E-06A52F73270F}"/>
          </ac:picMkLst>
        </pc:picChg>
        <pc:picChg chg="mod">
          <ac:chgData name="Stina Torell" userId="42ae74f8-9b92-4847-96bc-2e51e5bf7907" providerId="ADAL" clId="{8222E77C-B75B-4648-AAD8-E34B669EE4DB}" dt="2022-04-20T08:55:27.582" v="10044" actId="14100"/>
          <ac:picMkLst>
            <pc:docMk/>
            <pc:sldMk cId="1677377180" sldId="720"/>
            <ac:picMk id="54" creationId="{6489B38F-12E7-1842-B26E-F273F9987680}"/>
          </ac:picMkLst>
        </pc:picChg>
        <pc:picChg chg="mod">
          <ac:chgData name="Stina Torell" userId="42ae74f8-9b92-4847-96bc-2e51e5bf7907" providerId="ADAL" clId="{8222E77C-B75B-4648-AAD8-E34B669EE4DB}" dt="2022-04-20T08:55:27.582" v="10044" actId="14100"/>
          <ac:picMkLst>
            <pc:docMk/>
            <pc:sldMk cId="1677377180" sldId="720"/>
            <ac:picMk id="10242" creationId="{FC2FCB1F-7524-BE4C-8508-D120D9F3F55C}"/>
          </ac:picMkLst>
        </pc:picChg>
        <pc:picChg chg="mod">
          <ac:chgData name="Stina Torell" userId="42ae74f8-9b92-4847-96bc-2e51e5bf7907" providerId="ADAL" clId="{8222E77C-B75B-4648-AAD8-E34B669EE4DB}" dt="2022-04-20T08:55:27.582" v="10044" actId="14100"/>
          <ac:picMkLst>
            <pc:docMk/>
            <pc:sldMk cId="1677377180" sldId="720"/>
            <ac:picMk id="10244" creationId="{17E16435-DED2-0849-81B8-D3538601AC4D}"/>
          </ac:picMkLst>
        </pc:picChg>
        <pc:picChg chg="mod">
          <ac:chgData name="Stina Torell" userId="42ae74f8-9b92-4847-96bc-2e51e5bf7907" providerId="ADAL" clId="{8222E77C-B75B-4648-AAD8-E34B669EE4DB}" dt="2022-04-20T08:55:27.582" v="10044" actId="14100"/>
          <ac:picMkLst>
            <pc:docMk/>
            <pc:sldMk cId="1677377180" sldId="720"/>
            <ac:picMk id="10250" creationId="{B1F6D304-B112-624D-9D1C-54D92EBCB465}"/>
          </ac:picMkLst>
        </pc:picChg>
        <pc:cxnChg chg="mod">
          <ac:chgData name="Stina Torell" userId="42ae74f8-9b92-4847-96bc-2e51e5bf7907" providerId="ADAL" clId="{8222E77C-B75B-4648-AAD8-E34B669EE4DB}" dt="2022-04-20T08:55:27.582" v="10044" actId="14100"/>
          <ac:cxnSpMkLst>
            <pc:docMk/>
            <pc:sldMk cId="1677377180" sldId="720"/>
            <ac:cxnSpMk id="61" creationId="{AB905137-351B-CF4C-A927-785953744242}"/>
          </ac:cxnSpMkLst>
        </pc:cxnChg>
        <pc:cxnChg chg="mod">
          <ac:chgData name="Stina Torell" userId="42ae74f8-9b92-4847-96bc-2e51e5bf7907" providerId="ADAL" clId="{8222E77C-B75B-4648-AAD8-E34B669EE4DB}" dt="2022-04-20T08:55:27.582" v="10044" actId="14100"/>
          <ac:cxnSpMkLst>
            <pc:docMk/>
            <pc:sldMk cId="1677377180" sldId="720"/>
            <ac:cxnSpMk id="62" creationId="{D99ACF8E-E9B6-264D-8BB3-BB0CAC70F184}"/>
          </ac:cxnSpMkLst>
        </pc:cxnChg>
        <pc:cxnChg chg="mod">
          <ac:chgData name="Stina Torell" userId="42ae74f8-9b92-4847-96bc-2e51e5bf7907" providerId="ADAL" clId="{8222E77C-B75B-4648-AAD8-E34B669EE4DB}" dt="2022-04-20T08:55:27.582" v="10044" actId="14100"/>
          <ac:cxnSpMkLst>
            <pc:docMk/>
            <pc:sldMk cId="1677377180" sldId="720"/>
            <ac:cxnSpMk id="89" creationId="{6B661C22-D728-5C41-AED4-163D7528D73F}"/>
          </ac:cxnSpMkLst>
        </pc:cxnChg>
        <pc:cxnChg chg="mod">
          <ac:chgData name="Stina Torell" userId="42ae74f8-9b92-4847-96bc-2e51e5bf7907" providerId="ADAL" clId="{8222E77C-B75B-4648-AAD8-E34B669EE4DB}" dt="2022-04-20T08:55:27.582" v="10044" actId="14100"/>
          <ac:cxnSpMkLst>
            <pc:docMk/>
            <pc:sldMk cId="1677377180" sldId="720"/>
            <ac:cxnSpMk id="93" creationId="{FA8DDE45-8B11-0A42-968D-EC00F033F593}"/>
          </ac:cxnSpMkLst>
        </pc:cxnChg>
        <pc:cxnChg chg="mod">
          <ac:chgData name="Stina Torell" userId="42ae74f8-9b92-4847-96bc-2e51e5bf7907" providerId="ADAL" clId="{8222E77C-B75B-4648-AAD8-E34B669EE4DB}" dt="2022-04-20T08:55:27.582" v="10044" actId="14100"/>
          <ac:cxnSpMkLst>
            <pc:docMk/>
            <pc:sldMk cId="1677377180" sldId="720"/>
            <ac:cxnSpMk id="10263" creationId="{C6F43877-ADA4-2F40-94DC-833B6794AFCB}"/>
          </ac:cxnSpMkLst>
        </pc:cxnChg>
      </pc:sldChg>
      <pc:sldChg chg="modSp mod setBg">
        <pc:chgData name="Stina Torell" userId="42ae74f8-9b92-4847-96bc-2e51e5bf7907" providerId="ADAL" clId="{8222E77C-B75B-4648-AAD8-E34B669EE4DB}" dt="2022-04-20T08:54:32.545" v="10039"/>
        <pc:sldMkLst>
          <pc:docMk/>
          <pc:sldMk cId="2393237864" sldId="2653"/>
        </pc:sldMkLst>
        <pc:spChg chg="mod">
          <ac:chgData name="Stina Torell" userId="42ae74f8-9b92-4847-96bc-2e51e5bf7907" providerId="ADAL" clId="{8222E77C-B75B-4648-AAD8-E34B669EE4DB}" dt="2022-03-29T08:55:47.941" v="6" actId="1076"/>
          <ac:spMkLst>
            <pc:docMk/>
            <pc:sldMk cId="2393237864" sldId="2653"/>
            <ac:spMk id="2" creationId="{C1E9FF4B-1229-4262-82A6-7A1A5E116D43}"/>
          </ac:spMkLst>
        </pc:spChg>
        <pc:spChg chg="mod">
          <ac:chgData name="Stina Torell" userId="42ae74f8-9b92-4847-96bc-2e51e5bf7907" providerId="ADAL" clId="{8222E77C-B75B-4648-AAD8-E34B669EE4DB}" dt="2022-03-29T08:56:17.136" v="7" actId="2711"/>
          <ac:spMkLst>
            <pc:docMk/>
            <pc:sldMk cId="2393237864" sldId="2653"/>
            <ac:spMk id="12" creationId="{3EEE8B65-26E3-0F44-8FEF-95B8DF96FF3B}"/>
          </ac:spMkLst>
        </pc:spChg>
        <pc:cxnChg chg="mod">
          <ac:chgData name="Stina Torell" userId="42ae74f8-9b92-4847-96bc-2e51e5bf7907" providerId="ADAL" clId="{8222E77C-B75B-4648-AAD8-E34B669EE4DB}" dt="2022-03-29T08:57:25.887" v="17" actId="692"/>
          <ac:cxnSpMkLst>
            <pc:docMk/>
            <pc:sldMk cId="2393237864" sldId="2653"/>
            <ac:cxnSpMk id="17" creationId="{23A680C9-178D-5D4E-930F-C1AF1B7E3DBD}"/>
          </ac:cxnSpMkLst>
        </pc:cxnChg>
      </pc:sldChg>
      <pc:sldChg chg="del">
        <pc:chgData name="Stina Torell" userId="42ae74f8-9b92-4847-96bc-2e51e5bf7907" providerId="ADAL" clId="{8222E77C-B75B-4648-AAD8-E34B669EE4DB}" dt="2022-04-26T06:59:54.838" v="11422" actId="2696"/>
        <pc:sldMkLst>
          <pc:docMk/>
          <pc:sldMk cId="3550107595" sldId="2665"/>
        </pc:sldMkLst>
      </pc:sldChg>
      <pc:sldChg chg="del">
        <pc:chgData name="Stina Torell" userId="42ae74f8-9b92-4847-96bc-2e51e5bf7907" providerId="ADAL" clId="{8222E77C-B75B-4648-AAD8-E34B669EE4DB}" dt="2022-04-26T06:59:54.838" v="11422" actId="2696"/>
        <pc:sldMkLst>
          <pc:docMk/>
          <pc:sldMk cId="3657994895" sldId="2670"/>
        </pc:sldMkLst>
      </pc:sldChg>
      <pc:sldChg chg="del">
        <pc:chgData name="Stina Torell" userId="42ae74f8-9b92-4847-96bc-2e51e5bf7907" providerId="ADAL" clId="{8222E77C-B75B-4648-AAD8-E34B669EE4DB}" dt="2022-04-26T06:59:54.838" v="11422" actId="2696"/>
        <pc:sldMkLst>
          <pc:docMk/>
          <pc:sldMk cId="1470057238" sldId="2671"/>
        </pc:sldMkLst>
      </pc:sldChg>
      <pc:sldChg chg="del">
        <pc:chgData name="Stina Torell" userId="42ae74f8-9b92-4847-96bc-2e51e5bf7907" providerId="ADAL" clId="{8222E77C-B75B-4648-AAD8-E34B669EE4DB}" dt="2022-04-26T06:59:54.838" v="11422" actId="2696"/>
        <pc:sldMkLst>
          <pc:docMk/>
          <pc:sldMk cId="881323136" sldId="2672"/>
        </pc:sldMkLst>
      </pc:sldChg>
      <pc:sldChg chg="del">
        <pc:chgData name="Stina Torell" userId="42ae74f8-9b92-4847-96bc-2e51e5bf7907" providerId="ADAL" clId="{8222E77C-B75B-4648-AAD8-E34B669EE4DB}" dt="2022-04-26T06:59:54.838" v="11422" actId="2696"/>
        <pc:sldMkLst>
          <pc:docMk/>
          <pc:sldMk cId="3783464923" sldId="2674"/>
        </pc:sldMkLst>
      </pc:sldChg>
      <pc:sldChg chg="addSp delSp modSp del mod addCm delCm modCm">
        <pc:chgData name="Stina Torell" userId="42ae74f8-9b92-4847-96bc-2e51e5bf7907" providerId="ADAL" clId="{8222E77C-B75B-4648-AAD8-E34B669EE4DB}" dt="2022-04-14T10:27:57.837" v="9294" actId="2696"/>
        <pc:sldMkLst>
          <pc:docMk/>
          <pc:sldMk cId="3466783046" sldId="2676"/>
        </pc:sldMkLst>
        <pc:spChg chg="mod">
          <ac:chgData name="Stina Torell" userId="42ae74f8-9b92-4847-96bc-2e51e5bf7907" providerId="ADAL" clId="{8222E77C-B75B-4648-AAD8-E34B669EE4DB}" dt="2022-04-12T07:25:55.798" v="7731" actId="1035"/>
          <ac:spMkLst>
            <pc:docMk/>
            <pc:sldMk cId="3466783046" sldId="2676"/>
            <ac:spMk id="2" creationId="{26C97834-B835-F742-8469-996ACB0C8BD7}"/>
          </ac:spMkLst>
        </pc:spChg>
        <pc:spChg chg="add mod">
          <ac:chgData name="Stina Torell" userId="42ae74f8-9b92-4847-96bc-2e51e5bf7907" providerId="ADAL" clId="{8222E77C-B75B-4648-AAD8-E34B669EE4DB}" dt="2022-04-12T07:16:55.739" v="7486" actId="167"/>
          <ac:spMkLst>
            <pc:docMk/>
            <pc:sldMk cId="3466783046" sldId="2676"/>
            <ac:spMk id="4" creationId="{F5E6042A-2635-3E4B-A3C7-773504ABA0ED}"/>
          </ac:spMkLst>
        </pc:spChg>
        <pc:spChg chg="mod">
          <ac:chgData name="Stina Torell" userId="42ae74f8-9b92-4847-96bc-2e51e5bf7907" providerId="ADAL" clId="{8222E77C-B75B-4648-AAD8-E34B669EE4DB}" dt="2022-04-12T07:15:47.559" v="7476" actId="1036"/>
          <ac:spMkLst>
            <pc:docMk/>
            <pc:sldMk cId="3466783046" sldId="2676"/>
            <ac:spMk id="32" creationId="{5DAB116A-4A90-7149-AE2F-A8CE6A89DFC6}"/>
          </ac:spMkLst>
        </pc:spChg>
        <pc:spChg chg="mod">
          <ac:chgData name="Stina Torell" userId="42ae74f8-9b92-4847-96bc-2e51e5bf7907" providerId="ADAL" clId="{8222E77C-B75B-4648-AAD8-E34B669EE4DB}" dt="2022-04-12T07:15:47.559" v="7476" actId="1036"/>
          <ac:spMkLst>
            <pc:docMk/>
            <pc:sldMk cId="3466783046" sldId="2676"/>
            <ac:spMk id="33" creationId="{8E59F928-DE00-1347-B17F-01E918D57E0C}"/>
          </ac:spMkLst>
        </pc:spChg>
        <pc:spChg chg="mod">
          <ac:chgData name="Stina Torell" userId="42ae74f8-9b92-4847-96bc-2e51e5bf7907" providerId="ADAL" clId="{8222E77C-B75B-4648-AAD8-E34B669EE4DB}" dt="2022-04-12T07:15:47.559" v="7476" actId="1036"/>
          <ac:spMkLst>
            <pc:docMk/>
            <pc:sldMk cId="3466783046" sldId="2676"/>
            <ac:spMk id="34" creationId="{66D28C95-FC77-FD41-860F-81E94E4BF5C0}"/>
          </ac:spMkLst>
        </pc:spChg>
        <pc:spChg chg="del">
          <ac:chgData name="Stina Torell" userId="42ae74f8-9b92-4847-96bc-2e51e5bf7907" providerId="ADAL" clId="{8222E77C-B75B-4648-AAD8-E34B669EE4DB}" dt="2022-04-11T13:19:23.396" v="2264" actId="478"/>
          <ac:spMkLst>
            <pc:docMk/>
            <pc:sldMk cId="3466783046" sldId="2676"/>
            <ac:spMk id="35" creationId="{83E59FB8-4774-BD44-B175-63195DA7270A}"/>
          </ac:spMkLst>
        </pc:spChg>
        <pc:spChg chg="mod">
          <ac:chgData name="Stina Torell" userId="42ae74f8-9b92-4847-96bc-2e51e5bf7907" providerId="ADAL" clId="{8222E77C-B75B-4648-AAD8-E34B669EE4DB}" dt="2022-04-12T07:16:29.750" v="7479" actId="208"/>
          <ac:spMkLst>
            <pc:docMk/>
            <pc:sldMk cId="3466783046" sldId="2676"/>
            <ac:spMk id="36" creationId="{24728826-D10F-6E4B-A6D8-32174571E58A}"/>
          </ac:spMkLst>
        </pc:spChg>
        <pc:spChg chg="mod">
          <ac:chgData name="Stina Torell" userId="42ae74f8-9b92-4847-96bc-2e51e5bf7907" providerId="ADAL" clId="{8222E77C-B75B-4648-AAD8-E34B669EE4DB}" dt="2022-04-12T07:16:29.750" v="7479" actId="208"/>
          <ac:spMkLst>
            <pc:docMk/>
            <pc:sldMk cId="3466783046" sldId="2676"/>
            <ac:spMk id="37" creationId="{C714CDC6-A472-D944-B472-821EF6399966}"/>
          </ac:spMkLst>
        </pc:spChg>
        <pc:spChg chg="mod">
          <ac:chgData name="Stina Torell" userId="42ae74f8-9b92-4847-96bc-2e51e5bf7907" providerId="ADAL" clId="{8222E77C-B75B-4648-AAD8-E34B669EE4DB}" dt="2022-04-12T07:16:29.750" v="7479" actId="208"/>
          <ac:spMkLst>
            <pc:docMk/>
            <pc:sldMk cId="3466783046" sldId="2676"/>
            <ac:spMk id="38" creationId="{951B20AD-A10B-1141-8621-1660604D7863}"/>
          </ac:spMkLst>
        </pc:spChg>
        <pc:spChg chg="del">
          <ac:chgData name="Stina Torell" userId="42ae74f8-9b92-4847-96bc-2e51e5bf7907" providerId="ADAL" clId="{8222E77C-B75B-4648-AAD8-E34B669EE4DB}" dt="2022-04-11T13:19:25.397" v="2265" actId="478"/>
          <ac:spMkLst>
            <pc:docMk/>
            <pc:sldMk cId="3466783046" sldId="2676"/>
            <ac:spMk id="39" creationId="{A1C74AF9-1CDE-D94D-B2F8-71B086BA8B44}"/>
          </ac:spMkLst>
        </pc:spChg>
        <pc:spChg chg="mod">
          <ac:chgData name="Stina Torell" userId="42ae74f8-9b92-4847-96bc-2e51e5bf7907" providerId="ADAL" clId="{8222E77C-B75B-4648-AAD8-E34B669EE4DB}" dt="2022-04-12T07:18:01.922" v="7539" actId="20577"/>
          <ac:spMkLst>
            <pc:docMk/>
            <pc:sldMk cId="3466783046" sldId="2676"/>
            <ac:spMk id="45" creationId="{BEDF3190-A5AF-5F4E-8F67-497D7B9C6CE7}"/>
          </ac:spMkLst>
        </pc:spChg>
        <pc:spChg chg="mod">
          <ac:chgData name="Stina Torell" userId="42ae74f8-9b92-4847-96bc-2e51e5bf7907" providerId="ADAL" clId="{8222E77C-B75B-4648-AAD8-E34B669EE4DB}" dt="2022-04-12T07:17:53.783" v="7528" actId="20577"/>
          <ac:spMkLst>
            <pc:docMk/>
            <pc:sldMk cId="3466783046" sldId="2676"/>
            <ac:spMk id="46" creationId="{3982B889-1770-CE4F-86A0-6B4330949077}"/>
          </ac:spMkLst>
        </pc:spChg>
        <pc:spChg chg="mod">
          <ac:chgData name="Stina Torell" userId="42ae74f8-9b92-4847-96bc-2e51e5bf7907" providerId="ADAL" clId="{8222E77C-B75B-4648-AAD8-E34B669EE4DB}" dt="2022-04-14T09:23:28.610" v="8456" actId="20577"/>
          <ac:spMkLst>
            <pc:docMk/>
            <pc:sldMk cId="3466783046" sldId="2676"/>
            <ac:spMk id="47" creationId="{04BC2B67-C9B6-3E43-A274-E4C460304F6A}"/>
          </ac:spMkLst>
        </pc:spChg>
        <pc:spChg chg="del">
          <ac:chgData name="Stina Torell" userId="42ae74f8-9b92-4847-96bc-2e51e5bf7907" providerId="ADAL" clId="{8222E77C-B75B-4648-AAD8-E34B669EE4DB}" dt="2022-04-11T13:19:19.942" v="2262" actId="478"/>
          <ac:spMkLst>
            <pc:docMk/>
            <pc:sldMk cId="3466783046" sldId="2676"/>
            <ac:spMk id="49" creationId="{B48F606C-6376-7644-91F2-674AA177FF55}"/>
          </ac:spMkLst>
        </pc:spChg>
        <pc:cxnChg chg="mod">
          <ac:chgData name="Stina Torell" userId="42ae74f8-9b92-4847-96bc-2e51e5bf7907" providerId="ADAL" clId="{8222E77C-B75B-4648-AAD8-E34B669EE4DB}" dt="2022-04-12T07:28:31.711" v="7742" actId="14100"/>
          <ac:cxnSpMkLst>
            <pc:docMk/>
            <pc:sldMk cId="3466783046" sldId="2676"/>
            <ac:cxnSpMk id="30" creationId="{9DC08933-90FD-D24E-B8E4-D4B8899CFDB0}"/>
          </ac:cxnSpMkLst>
        </pc:cxnChg>
      </pc:sldChg>
      <pc:sldChg chg="del">
        <pc:chgData name="Stina Torell" userId="42ae74f8-9b92-4847-96bc-2e51e5bf7907" providerId="ADAL" clId="{8222E77C-B75B-4648-AAD8-E34B669EE4DB}" dt="2022-04-26T06:59:54.838" v="11422" actId="2696"/>
        <pc:sldMkLst>
          <pc:docMk/>
          <pc:sldMk cId="4109295077" sldId="2677"/>
        </pc:sldMkLst>
      </pc:sldChg>
      <pc:sldChg chg="del">
        <pc:chgData name="Stina Torell" userId="42ae74f8-9b92-4847-96bc-2e51e5bf7907" providerId="ADAL" clId="{8222E77C-B75B-4648-AAD8-E34B669EE4DB}" dt="2022-04-26T06:59:54.838" v="11422" actId="2696"/>
        <pc:sldMkLst>
          <pc:docMk/>
          <pc:sldMk cId="634035225" sldId="2678"/>
        </pc:sldMkLst>
      </pc:sldChg>
      <pc:sldChg chg="addSp delSp modSp mod ord addCm delCm modCm">
        <pc:chgData name="Stina Torell" userId="42ae74f8-9b92-4847-96bc-2e51e5bf7907" providerId="ADAL" clId="{8222E77C-B75B-4648-AAD8-E34B669EE4DB}" dt="2022-04-26T15:09:46.603" v="11574" actId="478"/>
        <pc:sldMkLst>
          <pc:docMk/>
          <pc:sldMk cId="1196669393" sldId="2679"/>
        </pc:sldMkLst>
        <pc:spChg chg="mod">
          <ac:chgData name="Stina Torell" userId="42ae74f8-9b92-4847-96bc-2e51e5bf7907" providerId="ADAL" clId="{8222E77C-B75B-4648-AAD8-E34B669EE4DB}" dt="2022-04-11T13:40:31.904" v="3032" actId="20577"/>
          <ac:spMkLst>
            <pc:docMk/>
            <pc:sldMk cId="1196669393" sldId="2679"/>
            <ac:spMk id="2" creationId="{A712ED74-12CA-5A40-AFF4-4D0C231C719A}"/>
          </ac:spMkLst>
        </pc:spChg>
        <pc:spChg chg="mod">
          <ac:chgData name="Stina Torell" userId="42ae74f8-9b92-4847-96bc-2e51e5bf7907" providerId="ADAL" clId="{8222E77C-B75B-4648-AAD8-E34B669EE4DB}" dt="2022-04-12T07:27:44.510" v="7738" actId="14100"/>
          <ac:spMkLst>
            <pc:docMk/>
            <pc:sldMk cId="1196669393" sldId="2679"/>
            <ac:spMk id="4" creationId="{B762F0CB-9C15-3043-AA4B-55C649CFCB70}"/>
          </ac:spMkLst>
        </pc:spChg>
        <pc:spChg chg="mod">
          <ac:chgData name="Stina Torell" userId="42ae74f8-9b92-4847-96bc-2e51e5bf7907" providerId="ADAL" clId="{8222E77C-B75B-4648-AAD8-E34B669EE4DB}" dt="2022-04-21T09:46:04.982" v="10718" actId="1076"/>
          <ac:spMkLst>
            <pc:docMk/>
            <pc:sldMk cId="1196669393" sldId="2679"/>
            <ac:spMk id="7" creationId="{D9C68DE9-7CB1-7946-905D-9271DE896F06}"/>
          </ac:spMkLst>
        </pc:spChg>
        <pc:spChg chg="mod">
          <ac:chgData name="Stina Torell" userId="42ae74f8-9b92-4847-96bc-2e51e5bf7907" providerId="ADAL" clId="{8222E77C-B75B-4648-AAD8-E34B669EE4DB}" dt="2022-04-14T10:08:59.755" v="9036" actId="1036"/>
          <ac:spMkLst>
            <pc:docMk/>
            <pc:sldMk cId="1196669393" sldId="2679"/>
            <ac:spMk id="9" creationId="{1AFFBB22-0A57-AC4F-992C-153E397DC320}"/>
          </ac:spMkLst>
        </pc:spChg>
        <pc:spChg chg="add del mod">
          <ac:chgData name="Stina Torell" userId="42ae74f8-9b92-4847-96bc-2e51e5bf7907" providerId="ADAL" clId="{8222E77C-B75B-4648-AAD8-E34B669EE4DB}" dt="2022-04-14T10:08:59.755" v="9036" actId="1036"/>
          <ac:spMkLst>
            <pc:docMk/>
            <pc:sldMk cId="1196669393" sldId="2679"/>
            <ac:spMk id="10" creationId="{397B7F34-5DB3-8948-9AAB-A2D72A49DC28}"/>
          </ac:spMkLst>
        </pc:spChg>
        <pc:spChg chg="mod">
          <ac:chgData name="Stina Torell" userId="42ae74f8-9b92-4847-96bc-2e51e5bf7907" providerId="ADAL" clId="{8222E77C-B75B-4648-AAD8-E34B669EE4DB}" dt="2022-04-21T09:47:14.221" v="10722" actId="1076"/>
          <ac:spMkLst>
            <pc:docMk/>
            <pc:sldMk cId="1196669393" sldId="2679"/>
            <ac:spMk id="11" creationId="{F638904B-D90E-BE4B-A1C0-DCCEF080F2C8}"/>
          </ac:spMkLst>
        </pc:spChg>
        <pc:spChg chg="mod">
          <ac:chgData name="Stina Torell" userId="42ae74f8-9b92-4847-96bc-2e51e5bf7907" providerId="ADAL" clId="{8222E77C-B75B-4648-AAD8-E34B669EE4DB}" dt="2022-04-14T10:10:11.530" v="9136" actId="1036"/>
          <ac:spMkLst>
            <pc:docMk/>
            <pc:sldMk cId="1196669393" sldId="2679"/>
            <ac:spMk id="12" creationId="{362C403B-2FD2-684C-826D-A30F08208589}"/>
          </ac:spMkLst>
        </pc:spChg>
        <pc:spChg chg="mod">
          <ac:chgData name="Stina Torell" userId="42ae74f8-9b92-4847-96bc-2e51e5bf7907" providerId="ADAL" clId="{8222E77C-B75B-4648-AAD8-E34B669EE4DB}" dt="2022-04-14T10:09:10.181" v="9048" actId="1036"/>
          <ac:spMkLst>
            <pc:docMk/>
            <pc:sldMk cId="1196669393" sldId="2679"/>
            <ac:spMk id="13" creationId="{B3039C1B-88E9-8A4C-BE02-D53C8E9B0CDD}"/>
          </ac:spMkLst>
        </pc:spChg>
        <pc:spChg chg="mod">
          <ac:chgData name="Stina Torell" userId="42ae74f8-9b92-4847-96bc-2e51e5bf7907" providerId="ADAL" clId="{8222E77C-B75B-4648-AAD8-E34B669EE4DB}" dt="2022-04-14T10:09:15.735" v="9062" actId="1035"/>
          <ac:spMkLst>
            <pc:docMk/>
            <pc:sldMk cId="1196669393" sldId="2679"/>
            <ac:spMk id="14" creationId="{586339D7-D0B9-604C-BECD-96D3F7274F41}"/>
          </ac:spMkLst>
        </pc:spChg>
        <pc:spChg chg="mod">
          <ac:chgData name="Stina Torell" userId="42ae74f8-9b92-4847-96bc-2e51e5bf7907" providerId="ADAL" clId="{8222E77C-B75B-4648-AAD8-E34B669EE4DB}" dt="2022-04-14T10:09:48.852" v="9106" actId="20577"/>
          <ac:spMkLst>
            <pc:docMk/>
            <pc:sldMk cId="1196669393" sldId="2679"/>
            <ac:spMk id="15" creationId="{D95B5BA4-53DD-D948-9760-2CF44B6268B9}"/>
          </ac:spMkLst>
        </pc:spChg>
        <pc:cxnChg chg="del mod">
          <ac:chgData name="Stina Torell" userId="42ae74f8-9b92-4847-96bc-2e51e5bf7907" providerId="ADAL" clId="{8222E77C-B75B-4648-AAD8-E34B669EE4DB}" dt="2022-04-21T09:44:06.346" v="10661" actId="478"/>
          <ac:cxnSpMkLst>
            <pc:docMk/>
            <pc:sldMk cId="1196669393" sldId="2679"/>
            <ac:cxnSpMk id="5" creationId="{08C7DF60-94A3-03A2-DD93-0367A659DC7B}"/>
          </ac:cxnSpMkLst>
        </pc:cxnChg>
        <pc:cxnChg chg="add del mod">
          <ac:chgData name="Stina Torell" userId="42ae74f8-9b92-4847-96bc-2e51e5bf7907" providerId="ADAL" clId="{8222E77C-B75B-4648-AAD8-E34B669EE4DB}" dt="2022-04-12T07:24:02.951" v="7715" actId="478"/>
          <ac:cxnSpMkLst>
            <pc:docMk/>
            <pc:sldMk cId="1196669393" sldId="2679"/>
            <ac:cxnSpMk id="5" creationId="{50D39CC2-CEBD-FB4D-A31F-013585A63339}"/>
          </ac:cxnSpMkLst>
        </pc:cxnChg>
        <pc:cxnChg chg="add del mod">
          <ac:chgData name="Stina Torell" userId="42ae74f8-9b92-4847-96bc-2e51e5bf7907" providerId="ADAL" clId="{8222E77C-B75B-4648-AAD8-E34B669EE4DB}" dt="2022-04-26T15:09:46.603" v="11574" actId="478"/>
          <ac:cxnSpMkLst>
            <pc:docMk/>
            <pc:sldMk cId="1196669393" sldId="2679"/>
            <ac:cxnSpMk id="6" creationId="{3015D3EA-F2E0-6548-A5CF-DEDC699395A8}"/>
          </ac:cxnSpMkLst>
        </pc:cxnChg>
        <pc:cxnChg chg="add del mod">
          <ac:chgData name="Stina Torell" userId="42ae74f8-9b92-4847-96bc-2e51e5bf7907" providerId="ADAL" clId="{8222E77C-B75B-4648-AAD8-E34B669EE4DB}" dt="2022-04-21T09:43:10.420" v="10650" actId="478"/>
          <ac:cxnSpMkLst>
            <pc:docMk/>
            <pc:sldMk cId="1196669393" sldId="2679"/>
            <ac:cxnSpMk id="16" creationId="{314B947C-DE10-C341-AB26-E293F2C93847}"/>
          </ac:cxnSpMkLst>
        </pc:cxnChg>
        <pc:cxnChg chg="add del mod">
          <ac:chgData name="Stina Torell" userId="42ae74f8-9b92-4847-96bc-2e51e5bf7907" providerId="ADAL" clId="{8222E77C-B75B-4648-AAD8-E34B669EE4DB}" dt="2022-04-21T09:43:12.136" v="10651" actId="478"/>
          <ac:cxnSpMkLst>
            <pc:docMk/>
            <pc:sldMk cId="1196669393" sldId="2679"/>
            <ac:cxnSpMk id="17" creationId="{6BE16E03-9B9E-1549-A67D-02DD58C904BD}"/>
          </ac:cxnSpMkLst>
        </pc:cxnChg>
        <pc:cxnChg chg="add del mod">
          <ac:chgData name="Stina Torell" userId="42ae74f8-9b92-4847-96bc-2e51e5bf7907" providerId="ADAL" clId="{8222E77C-B75B-4648-AAD8-E34B669EE4DB}" dt="2022-04-21T09:43:13.397" v="10652" actId="478"/>
          <ac:cxnSpMkLst>
            <pc:docMk/>
            <pc:sldMk cId="1196669393" sldId="2679"/>
            <ac:cxnSpMk id="18" creationId="{EF7B4E11-BBF1-EE4F-988D-1013B88AA32D}"/>
          </ac:cxnSpMkLst>
        </pc:cxnChg>
        <pc:cxnChg chg="add del mod">
          <ac:chgData name="Stina Torell" userId="42ae74f8-9b92-4847-96bc-2e51e5bf7907" providerId="ADAL" clId="{8222E77C-B75B-4648-AAD8-E34B669EE4DB}" dt="2022-04-21T09:44:05.063" v="10660" actId="478"/>
          <ac:cxnSpMkLst>
            <pc:docMk/>
            <pc:sldMk cId="1196669393" sldId="2679"/>
            <ac:cxnSpMk id="19" creationId="{226EF38B-FB27-A243-946E-495C8153F743}"/>
          </ac:cxnSpMkLst>
        </pc:cxnChg>
        <pc:cxnChg chg="add del mod">
          <ac:chgData name="Stina Torell" userId="42ae74f8-9b92-4847-96bc-2e51e5bf7907" providerId="ADAL" clId="{8222E77C-B75B-4648-AAD8-E34B669EE4DB}" dt="2022-04-21T09:44:03.875" v="10659" actId="478"/>
          <ac:cxnSpMkLst>
            <pc:docMk/>
            <pc:sldMk cId="1196669393" sldId="2679"/>
            <ac:cxnSpMk id="20" creationId="{BA557A07-AA60-3544-95CE-9111698C4FAE}"/>
          </ac:cxnSpMkLst>
        </pc:cxnChg>
        <pc:cxnChg chg="add del mod">
          <ac:chgData name="Stina Torell" userId="42ae74f8-9b92-4847-96bc-2e51e5bf7907" providerId="ADAL" clId="{8222E77C-B75B-4648-AAD8-E34B669EE4DB}" dt="2022-04-21T09:44:54.605" v="10674" actId="478"/>
          <ac:cxnSpMkLst>
            <pc:docMk/>
            <pc:sldMk cId="1196669393" sldId="2679"/>
            <ac:cxnSpMk id="21" creationId="{D50FFBEC-8500-F844-85C2-884E1E6403B4}"/>
          </ac:cxnSpMkLst>
        </pc:cxnChg>
        <pc:cxnChg chg="add del mod">
          <ac:chgData name="Stina Torell" userId="42ae74f8-9b92-4847-96bc-2e51e5bf7907" providerId="ADAL" clId="{8222E77C-B75B-4648-AAD8-E34B669EE4DB}" dt="2022-04-26T15:09:46.099" v="11573" actId="478"/>
          <ac:cxnSpMkLst>
            <pc:docMk/>
            <pc:sldMk cId="1196669393" sldId="2679"/>
            <ac:cxnSpMk id="22" creationId="{E19DFF4B-B45E-2D4F-8EB7-50D4A3281FDD}"/>
          </ac:cxnSpMkLst>
        </pc:cxnChg>
        <pc:cxnChg chg="add del mod">
          <ac:chgData name="Stina Torell" userId="42ae74f8-9b92-4847-96bc-2e51e5bf7907" providerId="ADAL" clId="{8222E77C-B75B-4648-AAD8-E34B669EE4DB}" dt="2022-04-26T15:09:45.192" v="11572" actId="478"/>
          <ac:cxnSpMkLst>
            <pc:docMk/>
            <pc:sldMk cId="1196669393" sldId="2679"/>
            <ac:cxnSpMk id="23" creationId="{2441C2C2-29EE-3140-B98D-37C7203DA142}"/>
          </ac:cxnSpMkLst>
        </pc:cxnChg>
        <pc:cxnChg chg="add mod">
          <ac:chgData name="Stina Torell" userId="42ae74f8-9b92-4847-96bc-2e51e5bf7907" providerId="ADAL" clId="{8222E77C-B75B-4648-AAD8-E34B669EE4DB}" dt="2022-04-21T09:48:32.251" v="10736" actId="1035"/>
          <ac:cxnSpMkLst>
            <pc:docMk/>
            <pc:sldMk cId="1196669393" sldId="2679"/>
            <ac:cxnSpMk id="24" creationId="{76A3455E-E65C-0D4F-9CE9-A06064F76D54}"/>
          </ac:cxnSpMkLst>
        </pc:cxnChg>
        <pc:cxnChg chg="add del mod">
          <ac:chgData name="Stina Torell" userId="42ae74f8-9b92-4847-96bc-2e51e5bf7907" providerId="ADAL" clId="{8222E77C-B75B-4648-AAD8-E34B669EE4DB}" dt="2022-04-21T09:48:39.099" v="10743" actId="478"/>
          <ac:cxnSpMkLst>
            <pc:docMk/>
            <pc:sldMk cId="1196669393" sldId="2679"/>
            <ac:cxnSpMk id="26" creationId="{FE0664C2-8478-C94D-882F-BA086A3AAEC1}"/>
          </ac:cxnSpMkLst>
        </pc:cxnChg>
        <pc:cxnChg chg="add del mod">
          <ac:chgData name="Stina Torell" userId="42ae74f8-9b92-4847-96bc-2e51e5bf7907" providerId="ADAL" clId="{8222E77C-B75B-4648-AAD8-E34B669EE4DB}" dt="2022-04-21T09:49:31.128" v="10899" actId="478"/>
          <ac:cxnSpMkLst>
            <pc:docMk/>
            <pc:sldMk cId="1196669393" sldId="2679"/>
            <ac:cxnSpMk id="27" creationId="{71329F52-FF72-224C-9023-CB4D18A39859}"/>
          </ac:cxnSpMkLst>
        </pc:cxnChg>
        <pc:cxnChg chg="add del mod">
          <ac:chgData name="Stina Torell" userId="42ae74f8-9b92-4847-96bc-2e51e5bf7907" providerId="ADAL" clId="{8222E77C-B75B-4648-AAD8-E34B669EE4DB}" dt="2022-04-21T09:49:28.797" v="10898" actId="478"/>
          <ac:cxnSpMkLst>
            <pc:docMk/>
            <pc:sldMk cId="1196669393" sldId="2679"/>
            <ac:cxnSpMk id="28" creationId="{3019584A-9C5E-2945-93F1-5E2A23FBC171}"/>
          </ac:cxnSpMkLst>
        </pc:cxnChg>
        <pc:cxnChg chg="add mod">
          <ac:chgData name="Stina Torell" userId="42ae74f8-9b92-4847-96bc-2e51e5bf7907" providerId="ADAL" clId="{8222E77C-B75B-4648-AAD8-E34B669EE4DB}" dt="2022-04-21T09:49:09.382" v="10868" actId="1076"/>
          <ac:cxnSpMkLst>
            <pc:docMk/>
            <pc:sldMk cId="1196669393" sldId="2679"/>
            <ac:cxnSpMk id="29" creationId="{19B38A3C-C490-DC42-A7A8-46D6A6F377CE}"/>
          </ac:cxnSpMkLst>
        </pc:cxnChg>
        <pc:cxnChg chg="add mod">
          <ac:chgData name="Stina Torell" userId="42ae74f8-9b92-4847-96bc-2e51e5bf7907" providerId="ADAL" clId="{8222E77C-B75B-4648-AAD8-E34B669EE4DB}" dt="2022-04-21T09:50:38.952" v="10987" actId="1038"/>
          <ac:cxnSpMkLst>
            <pc:docMk/>
            <pc:sldMk cId="1196669393" sldId="2679"/>
            <ac:cxnSpMk id="30" creationId="{D7B82528-23AC-7740-B54E-6EC9F33A60AE}"/>
          </ac:cxnSpMkLst>
        </pc:cxnChg>
        <pc:cxnChg chg="add mod">
          <ac:chgData name="Stina Torell" userId="42ae74f8-9b92-4847-96bc-2e51e5bf7907" providerId="ADAL" clId="{8222E77C-B75B-4648-AAD8-E34B669EE4DB}" dt="2022-04-21T09:50:24.383" v="10986" actId="1038"/>
          <ac:cxnSpMkLst>
            <pc:docMk/>
            <pc:sldMk cId="1196669393" sldId="2679"/>
            <ac:cxnSpMk id="31" creationId="{3DD2AA0C-5855-3F40-9CC7-9DE76286D972}"/>
          </ac:cxnSpMkLst>
        </pc:cxnChg>
      </pc:sldChg>
      <pc:sldChg chg="add del">
        <pc:chgData name="Stina Torell" userId="42ae74f8-9b92-4847-96bc-2e51e5bf7907" providerId="ADAL" clId="{8222E77C-B75B-4648-AAD8-E34B669EE4DB}" dt="2022-04-26T06:59:54.838" v="11422" actId="2696"/>
        <pc:sldMkLst>
          <pc:docMk/>
          <pc:sldMk cId="229025136" sldId="2680"/>
        </pc:sldMkLst>
      </pc:sldChg>
      <pc:sldChg chg="delSp modSp del mod ord modShow modCm">
        <pc:chgData name="Stina Torell" userId="42ae74f8-9b92-4847-96bc-2e51e5bf7907" providerId="ADAL" clId="{8222E77C-B75B-4648-AAD8-E34B669EE4DB}" dt="2022-04-11T20:43:50.348" v="7149" actId="2696"/>
        <pc:sldMkLst>
          <pc:docMk/>
          <pc:sldMk cId="2265982265" sldId="2680"/>
        </pc:sldMkLst>
        <pc:spChg chg="del">
          <ac:chgData name="Stina Torell" userId="42ae74f8-9b92-4847-96bc-2e51e5bf7907" providerId="ADAL" clId="{8222E77C-B75B-4648-AAD8-E34B669EE4DB}" dt="2022-04-11T13:48:03.066" v="3081" actId="478"/>
          <ac:spMkLst>
            <pc:docMk/>
            <pc:sldMk cId="2265982265" sldId="2680"/>
            <ac:spMk id="4" creationId="{BB9E442C-18ED-C84A-9A1A-B046424F324B}"/>
          </ac:spMkLst>
        </pc:spChg>
        <pc:spChg chg="del mod">
          <ac:chgData name="Stina Torell" userId="42ae74f8-9b92-4847-96bc-2e51e5bf7907" providerId="ADAL" clId="{8222E77C-B75B-4648-AAD8-E34B669EE4DB}" dt="2022-04-11T13:48:05.155" v="3082" actId="478"/>
          <ac:spMkLst>
            <pc:docMk/>
            <pc:sldMk cId="2265982265" sldId="2680"/>
            <ac:spMk id="6" creationId="{B16B02BD-E1DB-6F40-AAA1-6ECB948FB8E4}"/>
          </ac:spMkLst>
        </pc:spChg>
        <pc:spChg chg="mod">
          <ac:chgData name="Stina Torell" userId="42ae74f8-9b92-4847-96bc-2e51e5bf7907" providerId="ADAL" clId="{8222E77C-B75B-4648-AAD8-E34B669EE4DB}" dt="2022-04-11T20:10:51.028" v="6158" actId="14100"/>
          <ac:spMkLst>
            <pc:docMk/>
            <pc:sldMk cId="2265982265" sldId="2680"/>
            <ac:spMk id="12" creationId="{A9519C33-BD01-4342-AEDC-2580C0EABE21}"/>
          </ac:spMkLst>
        </pc:spChg>
      </pc:sldChg>
      <pc:sldChg chg="del">
        <pc:chgData name="Stina Torell" userId="42ae74f8-9b92-4847-96bc-2e51e5bf7907" providerId="ADAL" clId="{8222E77C-B75B-4648-AAD8-E34B669EE4DB}" dt="2022-04-26T06:59:54.838" v="11422" actId="2696"/>
        <pc:sldMkLst>
          <pc:docMk/>
          <pc:sldMk cId="2201510995" sldId="2681"/>
        </pc:sldMkLst>
      </pc:sldChg>
      <pc:sldChg chg="modSp del mod ord modShow modCm">
        <pc:chgData name="Stina Torell" userId="42ae74f8-9b92-4847-96bc-2e51e5bf7907" providerId="ADAL" clId="{8222E77C-B75B-4648-AAD8-E34B669EE4DB}" dt="2022-04-11T20:07:48.707" v="6142" actId="2696"/>
        <pc:sldMkLst>
          <pc:docMk/>
          <pc:sldMk cId="191516572" sldId="2683"/>
        </pc:sldMkLst>
        <pc:spChg chg="mod">
          <ac:chgData name="Stina Torell" userId="42ae74f8-9b92-4847-96bc-2e51e5bf7907" providerId="ADAL" clId="{8222E77C-B75B-4648-AAD8-E34B669EE4DB}" dt="2022-04-05T08:42:06.055" v="216" actId="255"/>
          <ac:spMkLst>
            <pc:docMk/>
            <pc:sldMk cId="191516572" sldId="2683"/>
            <ac:spMk id="2" creationId="{B1721753-2C13-3B45-B79D-7A48789C5117}"/>
          </ac:spMkLst>
        </pc:spChg>
      </pc:sldChg>
      <pc:sldChg chg="add del">
        <pc:chgData name="Stina Torell" userId="42ae74f8-9b92-4847-96bc-2e51e5bf7907" providerId="ADAL" clId="{8222E77C-B75B-4648-AAD8-E34B669EE4DB}" dt="2022-04-26T06:59:54.838" v="11422" actId="2696"/>
        <pc:sldMkLst>
          <pc:docMk/>
          <pc:sldMk cId="3449111217" sldId="2683"/>
        </pc:sldMkLst>
      </pc:sldChg>
      <pc:sldChg chg="add del">
        <pc:chgData name="Stina Torell" userId="42ae74f8-9b92-4847-96bc-2e51e5bf7907" providerId="ADAL" clId="{8222E77C-B75B-4648-AAD8-E34B669EE4DB}" dt="2022-04-26T06:59:54.838" v="11422" actId="2696"/>
        <pc:sldMkLst>
          <pc:docMk/>
          <pc:sldMk cId="686434937" sldId="2684"/>
        </pc:sldMkLst>
      </pc:sldChg>
      <pc:sldChg chg="del mod modShow">
        <pc:chgData name="Stina Torell" userId="42ae74f8-9b92-4847-96bc-2e51e5bf7907" providerId="ADAL" clId="{8222E77C-B75B-4648-AAD8-E34B669EE4DB}" dt="2022-04-12T07:15:18.960" v="7464" actId="2696"/>
        <pc:sldMkLst>
          <pc:docMk/>
          <pc:sldMk cId="965065525" sldId="2684"/>
        </pc:sldMkLst>
      </pc:sldChg>
      <pc:sldChg chg="del ord">
        <pc:chgData name="Stina Torell" userId="42ae74f8-9b92-4847-96bc-2e51e5bf7907" providerId="ADAL" clId="{8222E77C-B75B-4648-AAD8-E34B669EE4DB}" dt="2022-04-20T08:59:36.618" v="10587" actId="2696"/>
        <pc:sldMkLst>
          <pc:docMk/>
          <pc:sldMk cId="3946847621" sldId="2685"/>
        </pc:sldMkLst>
      </pc:sldChg>
      <pc:sldChg chg="addSp delSp modSp del mod modClrScheme delCm modCm chgLayout">
        <pc:chgData name="Stina Torell" userId="42ae74f8-9b92-4847-96bc-2e51e5bf7907" providerId="ADAL" clId="{8222E77C-B75B-4648-AAD8-E34B669EE4DB}" dt="2022-04-11T14:15:55.782" v="3960" actId="2696"/>
        <pc:sldMkLst>
          <pc:docMk/>
          <pc:sldMk cId="2416028853" sldId="2686"/>
        </pc:sldMkLst>
        <pc:spChg chg="del mod">
          <ac:chgData name="Stina Torell" userId="42ae74f8-9b92-4847-96bc-2e51e5bf7907" providerId="ADAL" clId="{8222E77C-B75B-4648-AAD8-E34B669EE4DB}" dt="2022-04-11T13:51:03.795" v="3261" actId="478"/>
          <ac:spMkLst>
            <pc:docMk/>
            <pc:sldMk cId="2416028853" sldId="2686"/>
            <ac:spMk id="2" creationId="{BB2173DD-1C6A-524C-AC25-0A6373F21E27}"/>
          </ac:spMkLst>
        </pc:spChg>
        <pc:spChg chg="add mod">
          <ac:chgData name="Stina Torell" userId="42ae74f8-9b92-4847-96bc-2e51e5bf7907" providerId="ADAL" clId="{8222E77C-B75B-4648-AAD8-E34B669EE4DB}" dt="2022-04-11T13:52:49.971" v="3318" actId="1035"/>
          <ac:spMkLst>
            <pc:docMk/>
            <pc:sldMk cId="2416028853" sldId="2686"/>
            <ac:spMk id="3" creationId="{0B75DCA2-8F0A-5846-A158-63E27992F450}"/>
          </ac:spMkLst>
        </pc:spChg>
        <pc:spChg chg="mod">
          <ac:chgData name="Stina Torell" userId="42ae74f8-9b92-4847-96bc-2e51e5bf7907" providerId="ADAL" clId="{8222E77C-B75B-4648-AAD8-E34B669EE4DB}" dt="2022-04-11T13:52:20.244" v="3295" actId="14100"/>
          <ac:spMkLst>
            <pc:docMk/>
            <pc:sldMk cId="2416028853" sldId="2686"/>
            <ac:spMk id="4" creationId="{BB9E442C-18ED-C84A-9A1A-B046424F324B}"/>
          </ac:spMkLst>
        </pc:spChg>
        <pc:spChg chg="add del mod">
          <ac:chgData name="Stina Torell" userId="42ae74f8-9b92-4847-96bc-2e51e5bf7907" providerId="ADAL" clId="{8222E77C-B75B-4648-AAD8-E34B669EE4DB}" dt="2022-04-11T13:51:19.973" v="3263" actId="478"/>
          <ac:spMkLst>
            <pc:docMk/>
            <pc:sldMk cId="2416028853" sldId="2686"/>
            <ac:spMk id="6" creationId="{1C5C6547-4CD2-8B41-A0CC-8720CA76494F}"/>
          </ac:spMkLst>
        </pc:spChg>
        <pc:spChg chg="add del mod">
          <ac:chgData name="Stina Torell" userId="42ae74f8-9b92-4847-96bc-2e51e5bf7907" providerId="ADAL" clId="{8222E77C-B75B-4648-AAD8-E34B669EE4DB}" dt="2022-04-05T08:31:00.856" v="52" actId="478"/>
          <ac:spMkLst>
            <pc:docMk/>
            <pc:sldMk cId="2416028853" sldId="2686"/>
            <ac:spMk id="6" creationId="{B16B02BD-E1DB-6F40-AAA1-6ECB948FB8E4}"/>
          </ac:spMkLst>
        </pc:spChg>
        <pc:spChg chg="del">
          <ac:chgData name="Stina Torell" userId="42ae74f8-9b92-4847-96bc-2e51e5bf7907" providerId="ADAL" clId="{8222E77C-B75B-4648-AAD8-E34B669EE4DB}" dt="2022-04-11T13:48:22.806" v="3084" actId="478"/>
          <ac:spMkLst>
            <pc:docMk/>
            <pc:sldMk cId="2416028853" sldId="2686"/>
            <ac:spMk id="7" creationId="{276A22FF-7D6C-A747-ACE1-79568D1ADD00}"/>
          </ac:spMkLst>
        </pc:spChg>
        <pc:spChg chg="del">
          <ac:chgData name="Stina Torell" userId="42ae74f8-9b92-4847-96bc-2e51e5bf7907" providerId="ADAL" clId="{8222E77C-B75B-4648-AAD8-E34B669EE4DB}" dt="2022-04-11T13:48:22.806" v="3084" actId="478"/>
          <ac:spMkLst>
            <pc:docMk/>
            <pc:sldMk cId="2416028853" sldId="2686"/>
            <ac:spMk id="8" creationId="{5C7ED33D-4A68-E140-B37F-3F7D1F610F8A}"/>
          </ac:spMkLst>
        </pc:spChg>
        <pc:spChg chg="del">
          <ac:chgData name="Stina Torell" userId="42ae74f8-9b92-4847-96bc-2e51e5bf7907" providerId="ADAL" clId="{8222E77C-B75B-4648-AAD8-E34B669EE4DB}" dt="2022-04-11T13:48:22.806" v="3084" actId="478"/>
          <ac:spMkLst>
            <pc:docMk/>
            <pc:sldMk cId="2416028853" sldId="2686"/>
            <ac:spMk id="9" creationId="{E0E70687-BD66-E045-BD67-D0A5827C9ABF}"/>
          </ac:spMkLst>
        </pc:spChg>
        <pc:spChg chg="del">
          <ac:chgData name="Stina Torell" userId="42ae74f8-9b92-4847-96bc-2e51e5bf7907" providerId="ADAL" clId="{8222E77C-B75B-4648-AAD8-E34B669EE4DB}" dt="2022-04-11T13:48:22.806" v="3084" actId="478"/>
          <ac:spMkLst>
            <pc:docMk/>
            <pc:sldMk cId="2416028853" sldId="2686"/>
            <ac:spMk id="10" creationId="{8FCC60FA-8E3F-534B-8884-D45C3C80BC99}"/>
          </ac:spMkLst>
        </pc:spChg>
        <pc:spChg chg="del">
          <ac:chgData name="Stina Torell" userId="42ae74f8-9b92-4847-96bc-2e51e5bf7907" providerId="ADAL" clId="{8222E77C-B75B-4648-AAD8-E34B669EE4DB}" dt="2022-04-11T13:48:22.806" v="3084" actId="478"/>
          <ac:spMkLst>
            <pc:docMk/>
            <pc:sldMk cId="2416028853" sldId="2686"/>
            <ac:spMk id="12" creationId="{A9519C33-BD01-4342-AEDC-2580C0EABE21}"/>
          </ac:spMkLst>
        </pc:spChg>
        <pc:spChg chg="add del mod ord">
          <ac:chgData name="Stina Torell" userId="42ae74f8-9b92-4847-96bc-2e51e5bf7907" providerId="ADAL" clId="{8222E77C-B75B-4648-AAD8-E34B669EE4DB}" dt="2022-04-11T13:53:11.129" v="3320" actId="700"/>
          <ac:spMkLst>
            <pc:docMk/>
            <pc:sldMk cId="2416028853" sldId="2686"/>
            <ac:spMk id="13" creationId="{469E2222-41B4-8D47-A6B0-BD69274A2EFA}"/>
          </ac:spMkLst>
        </pc:spChg>
        <pc:spChg chg="add del mod">
          <ac:chgData name="Stina Torell" userId="42ae74f8-9b92-4847-96bc-2e51e5bf7907" providerId="ADAL" clId="{8222E77C-B75B-4648-AAD8-E34B669EE4DB}" dt="2022-04-11T14:06:04.255" v="3620" actId="478"/>
          <ac:spMkLst>
            <pc:docMk/>
            <pc:sldMk cId="2416028853" sldId="2686"/>
            <ac:spMk id="15" creationId="{D2064458-924C-EE44-8ADC-B8E5609126BF}"/>
          </ac:spMkLst>
        </pc:spChg>
        <pc:spChg chg="add del mod">
          <ac:chgData name="Stina Torell" userId="42ae74f8-9b92-4847-96bc-2e51e5bf7907" providerId="ADAL" clId="{8222E77C-B75B-4648-AAD8-E34B669EE4DB}" dt="2022-04-11T13:52:02.805" v="3293" actId="1076"/>
          <ac:spMkLst>
            <pc:docMk/>
            <pc:sldMk cId="2416028853" sldId="2686"/>
            <ac:spMk id="17" creationId="{7F53F4ED-4FF7-D444-A1FD-793197C3D0EE}"/>
          </ac:spMkLst>
        </pc:spChg>
        <pc:spChg chg="add mod">
          <ac:chgData name="Stina Torell" userId="42ae74f8-9b92-4847-96bc-2e51e5bf7907" providerId="ADAL" clId="{8222E77C-B75B-4648-AAD8-E34B669EE4DB}" dt="2022-04-11T13:52:40.916" v="3314" actId="1035"/>
          <ac:spMkLst>
            <pc:docMk/>
            <pc:sldMk cId="2416028853" sldId="2686"/>
            <ac:spMk id="29" creationId="{E46A88B8-12EC-6644-BDBA-0013C056925F}"/>
          </ac:spMkLst>
        </pc:spChg>
        <pc:spChg chg="add del mod">
          <ac:chgData name="Stina Torell" userId="42ae74f8-9b92-4847-96bc-2e51e5bf7907" providerId="ADAL" clId="{8222E77C-B75B-4648-AAD8-E34B669EE4DB}" dt="2022-04-11T13:55:20.123" v="3333"/>
          <ac:spMkLst>
            <pc:docMk/>
            <pc:sldMk cId="2416028853" sldId="2686"/>
            <ac:spMk id="30" creationId="{FD19FDB6-9EB3-1349-B657-1C5C7581A443}"/>
          </ac:spMkLst>
        </pc:spChg>
        <pc:picChg chg="add mod">
          <ac:chgData name="Stina Torell" userId="42ae74f8-9b92-4847-96bc-2e51e5bf7907" providerId="ADAL" clId="{8222E77C-B75B-4648-AAD8-E34B669EE4DB}" dt="2022-04-11T13:53:27.883" v="3321" actId="1582"/>
          <ac:picMkLst>
            <pc:docMk/>
            <pc:sldMk cId="2416028853" sldId="2686"/>
            <ac:picMk id="11" creationId="{ABA160FE-94A5-C448-8195-EF37F2F8EA9B}"/>
          </ac:picMkLst>
        </pc:picChg>
        <pc:picChg chg="add mod">
          <ac:chgData name="Stina Torell" userId="42ae74f8-9b92-4847-96bc-2e51e5bf7907" providerId="ADAL" clId="{8222E77C-B75B-4648-AAD8-E34B669EE4DB}" dt="2022-04-11T13:53:27.883" v="3321" actId="1582"/>
          <ac:picMkLst>
            <pc:docMk/>
            <pc:sldMk cId="2416028853" sldId="2686"/>
            <ac:picMk id="14" creationId="{26233AFE-B3AC-6D47-9B0C-6BC7EC1AC448}"/>
          </ac:picMkLst>
        </pc:picChg>
        <pc:picChg chg="add del mod">
          <ac:chgData name="Stina Torell" userId="42ae74f8-9b92-4847-96bc-2e51e5bf7907" providerId="ADAL" clId="{8222E77C-B75B-4648-AAD8-E34B669EE4DB}" dt="2022-04-11T13:49:44.360" v="3124" actId="478"/>
          <ac:picMkLst>
            <pc:docMk/>
            <pc:sldMk cId="2416028853" sldId="2686"/>
            <ac:picMk id="16" creationId="{5B991EE3-5DBB-8848-AFB6-250DADB3DE21}"/>
          </ac:picMkLst>
        </pc:picChg>
        <pc:picChg chg="add mod">
          <ac:chgData name="Stina Torell" userId="42ae74f8-9b92-4847-96bc-2e51e5bf7907" providerId="ADAL" clId="{8222E77C-B75B-4648-AAD8-E34B669EE4DB}" dt="2022-04-11T13:53:27.883" v="3321" actId="1582"/>
          <ac:picMkLst>
            <pc:docMk/>
            <pc:sldMk cId="2416028853" sldId="2686"/>
            <ac:picMk id="18" creationId="{6D4F96F5-B7BA-864C-A3E4-C129FB2B8463}"/>
          </ac:picMkLst>
        </pc:picChg>
        <pc:picChg chg="add del mod">
          <ac:chgData name="Stina Torell" userId="42ae74f8-9b92-4847-96bc-2e51e5bf7907" providerId="ADAL" clId="{8222E77C-B75B-4648-AAD8-E34B669EE4DB}" dt="2022-04-11T13:50:12.658" v="3131" actId="478"/>
          <ac:picMkLst>
            <pc:docMk/>
            <pc:sldMk cId="2416028853" sldId="2686"/>
            <ac:picMk id="19" creationId="{8CDABEB9-CC90-E840-A72A-E57F92476FC1}"/>
          </ac:picMkLst>
        </pc:picChg>
        <pc:picChg chg="add del mod">
          <ac:chgData name="Stina Torell" userId="42ae74f8-9b92-4847-96bc-2e51e5bf7907" providerId="ADAL" clId="{8222E77C-B75B-4648-AAD8-E34B669EE4DB}" dt="2022-04-11T13:49:45.906" v="3125" actId="478"/>
          <ac:picMkLst>
            <pc:docMk/>
            <pc:sldMk cId="2416028853" sldId="2686"/>
            <ac:picMk id="20" creationId="{B93CB687-DF51-5441-B788-1CB24B74FD9C}"/>
          </ac:picMkLst>
        </pc:picChg>
        <pc:picChg chg="add del mod">
          <ac:chgData name="Stina Torell" userId="42ae74f8-9b92-4847-96bc-2e51e5bf7907" providerId="ADAL" clId="{8222E77C-B75B-4648-AAD8-E34B669EE4DB}" dt="2022-04-11T13:50:12.658" v="3131" actId="478"/>
          <ac:picMkLst>
            <pc:docMk/>
            <pc:sldMk cId="2416028853" sldId="2686"/>
            <ac:picMk id="21" creationId="{1AEAFB9A-9A63-8D47-8EBC-8587551C14FC}"/>
          </ac:picMkLst>
        </pc:picChg>
        <pc:picChg chg="add mod">
          <ac:chgData name="Stina Torell" userId="42ae74f8-9b92-4847-96bc-2e51e5bf7907" providerId="ADAL" clId="{8222E77C-B75B-4648-AAD8-E34B669EE4DB}" dt="2022-04-11T13:53:27.883" v="3321" actId="1582"/>
          <ac:picMkLst>
            <pc:docMk/>
            <pc:sldMk cId="2416028853" sldId="2686"/>
            <ac:picMk id="22" creationId="{1EEACD6D-8D5B-EA40-B272-1134382A92FB}"/>
          </ac:picMkLst>
        </pc:picChg>
        <pc:picChg chg="add mod">
          <ac:chgData name="Stina Torell" userId="42ae74f8-9b92-4847-96bc-2e51e5bf7907" providerId="ADAL" clId="{8222E77C-B75B-4648-AAD8-E34B669EE4DB}" dt="2022-04-11T13:53:27.883" v="3321" actId="1582"/>
          <ac:picMkLst>
            <pc:docMk/>
            <pc:sldMk cId="2416028853" sldId="2686"/>
            <ac:picMk id="23" creationId="{7D6BF15C-6D9F-BF4F-8C1D-3FEE2C988A41}"/>
          </ac:picMkLst>
        </pc:picChg>
        <pc:picChg chg="add del mod">
          <ac:chgData name="Stina Torell" userId="42ae74f8-9b92-4847-96bc-2e51e5bf7907" providerId="ADAL" clId="{8222E77C-B75B-4648-AAD8-E34B669EE4DB}" dt="2022-04-11T13:49:43.032" v="3123" actId="478"/>
          <ac:picMkLst>
            <pc:docMk/>
            <pc:sldMk cId="2416028853" sldId="2686"/>
            <ac:picMk id="24" creationId="{B9F8125B-8CFB-CD44-B048-8A001D884809}"/>
          </ac:picMkLst>
        </pc:picChg>
        <pc:picChg chg="add del mod">
          <ac:chgData name="Stina Torell" userId="42ae74f8-9b92-4847-96bc-2e51e5bf7907" providerId="ADAL" clId="{8222E77C-B75B-4648-AAD8-E34B669EE4DB}" dt="2022-04-11T13:50:12.658" v="3131" actId="478"/>
          <ac:picMkLst>
            <pc:docMk/>
            <pc:sldMk cId="2416028853" sldId="2686"/>
            <ac:picMk id="25" creationId="{50716FA6-0452-C84D-AD92-95A554CEAA0E}"/>
          </ac:picMkLst>
        </pc:picChg>
        <pc:picChg chg="add mod">
          <ac:chgData name="Stina Torell" userId="42ae74f8-9b92-4847-96bc-2e51e5bf7907" providerId="ADAL" clId="{8222E77C-B75B-4648-AAD8-E34B669EE4DB}" dt="2022-04-11T13:53:27.883" v="3321" actId="1582"/>
          <ac:picMkLst>
            <pc:docMk/>
            <pc:sldMk cId="2416028853" sldId="2686"/>
            <ac:picMk id="26" creationId="{A5D2E73D-1104-C944-80E5-2CE98A7BE07D}"/>
          </ac:picMkLst>
        </pc:picChg>
        <pc:picChg chg="add del mod">
          <ac:chgData name="Stina Torell" userId="42ae74f8-9b92-4847-96bc-2e51e5bf7907" providerId="ADAL" clId="{8222E77C-B75B-4648-AAD8-E34B669EE4DB}" dt="2022-04-11T13:50:12.658" v="3131" actId="478"/>
          <ac:picMkLst>
            <pc:docMk/>
            <pc:sldMk cId="2416028853" sldId="2686"/>
            <ac:picMk id="27" creationId="{E926EA34-8642-0143-97E8-9C9E0650E4D3}"/>
          </ac:picMkLst>
        </pc:picChg>
        <pc:picChg chg="add mod">
          <ac:chgData name="Stina Torell" userId="42ae74f8-9b92-4847-96bc-2e51e5bf7907" providerId="ADAL" clId="{8222E77C-B75B-4648-AAD8-E34B669EE4DB}" dt="2022-04-11T13:53:27.883" v="3321" actId="1582"/>
          <ac:picMkLst>
            <pc:docMk/>
            <pc:sldMk cId="2416028853" sldId="2686"/>
            <ac:picMk id="28" creationId="{2C129D98-4CA0-2B42-ADCE-D48DD26BE240}"/>
          </ac:picMkLst>
        </pc:picChg>
      </pc:sldChg>
      <pc:sldChg chg="addSp delSp modSp mod delCm modCm">
        <pc:chgData name="Stina Torell" userId="42ae74f8-9b92-4847-96bc-2e51e5bf7907" providerId="ADAL" clId="{8222E77C-B75B-4648-AAD8-E34B669EE4DB}" dt="2022-04-26T15:05:23.463" v="11551"/>
        <pc:sldMkLst>
          <pc:docMk/>
          <pc:sldMk cId="3889080991" sldId="2687"/>
        </pc:sldMkLst>
        <pc:spChg chg="add del mod">
          <ac:chgData name="Stina Torell" userId="42ae74f8-9b92-4847-96bc-2e51e5bf7907" providerId="ADAL" clId="{8222E77C-B75B-4648-AAD8-E34B669EE4DB}" dt="2022-04-11T16:28:41.336" v="5582" actId="478"/>
          <ac:spMkLst>
            <pc:docMk/>
            <pc:sldMk cId="3889080991" sldId="2687"/>
            <ac:spMk id="2" creationId="{E1B4BAC2-C961-3840-8C07-32BFA708C8BD}"/>
          </ac:spMkLst>
        </pc:spChg>
        <pc:spChg chg="add del mod">
          <ac:chgData name="Stina Torell" userId="42ae74f8-9b92-4847-96bc-2e51e5bf7907" providerId="ADAL" clId="{8222E77C-B75B-4648-AAD8-E34B669EE4DB}" dt="2022-04-11T14:46:03.055" v="4313"/>
          <ac:spMkLst>
            <pc:docMk/>
            <pc:sldMk cId="3889080991" sldId="2687"/>
            <ac:spMk id="3" creationId="{BA5115F6-D8F3-FE4C-9871-77F1DC7B5327}"/>
          </ac:spMkLst>
        </pc:spChg>
        <pc:spChg chg="add del mod">
          <ac:chgData name="Stina Torell" userId="42ae74f8-9b92-4847-96bc-2e51e5bf7907" providerId="ADAL" clId="{8222E77C-B75B-4648-AAD8-E34B669EE4DB}" dt="2022-04-11T16:27:46.884" v="5556" actId="478"/>
          <ac:spMkLst>
            <pc:docMk/>
            <pc:sldMk cId="3889080991" sldId="2687"/>
            <ac:spMk id="4" creationId="{D419680F-EFB5-6A42-A26E-859F324AA005}"/>
          </ac:spMkLst>
        </pc:spChg>
        <pc:spChg chg="add del mod">
          <ac:chgData name="Stina Torell" userId="42ae74f8-9b92-4847-96bc-2e51e5bf7907" providerId="ADAL" clId="{8222E77C-B75B-4648-AAD8-E34B669EE4DB}" dt="2022-04-11T14:48:07.354" v="4329" actId="478"/>
          <ac:spMkLst>
            <pc:docMk/>
            <pc:sldMk cId="3889080991" sldId="2687"/>
            <ac:spMk id="5" creationId="{57459A71-A24E-AD4E-80BE-63BE42B921BC}"/>
          </ac:spMkLst>
        </pc:spChg>
        <pc:spChg chg="add del mod">
          <ac:chgData name="Stina Torell" userId="42ae74f8-9b92-4847-96bc-2e51e5bf7907" providerId="ADAL" clId="{8222E77C-B75B-4648-AAD8-E34B669EE4DB}" dt="2022-04-05T09:48:41.660" v="2209"/>
          <ac:spMkLst>
            <pc:docMk/>
            <pc:sldMk cId="3889080991" sldId="2687"/>
            <ac:spMk id="6" creationId="{2D4229FC-9377-F542-B69B-490D616ECBD7}"/>
          </ac:spMkLst>
        </pc:spChg>
        <pc:spChg chg="add mod">
          <ac:chgData name="Stina Torell" userId="42ae74f8-9b92-4847-96bc-2e51e5bf7907" providerId="ADAL" clId="{8222E77C-B75B-4648-AAD8-E34B669EE4DB}" dt="2022-04-11T16:25:10.175" v="5475" actId="20577"/>
          <ac:spMkLst>
            <pc:docMk/>
            <pc:sldMk cId="3889080991" sldId="2687"/>
            <ac:spMk id="6" creationId="{3CD95A9E-8955-074E-8D10-B5875CCCF5E0}"/>
          </ac:spMkLst>
        </pc:spChg>
        <pc:spChg chg="add del mod">
          <ac:chgData name="Stina Torell" userId="42ae74f8-9b92-4847-96bc-2e51e5bf7907" providerId="ADAL" clId="{8222E77C-B75B-4648-AAD8-E34B669EE4DB}" dt="2022-04-05T09:49:15.226" v="2247" actId="478"/>
          <ac:spMkLst>
            <pc:docMk/>
            <pc:sldMk cId="3889080991" sldId="2687"/>
            <ac:spMk id="7" creationId="{1E444E7D-25ED-834A-A4A2-62FD8575331A}"/>
          </ac:spMkLst>
        </pc:spChg>
        <pc:spChg chg="add mod">
          <ac:chgData name="Stina Torell" userId="42ae74f8-9b92-4847-96bc-2e51e5bf7907" providerId="ADAL" clId="{8222E77C-B75B-4648-AAD8-E34B669EE4DB}" dt="2022-04-26T14:57:58.533" v="11473" actId="207"/>
          <ac:spMkLst>
            <pc:docMk/>
            <pc:sldMk cId="3889080991" sldId="2687"/>
            <ac:spMk id="7" creationId="{CFA036B4-DBEA-984B-B030-36A280860737}"/>
          </ac:spMkLst>
        </pc:spChg>
        <pc:spChg chg="add mod">
          <ac:chgData name="Stina Torell" userId="42ae74f8-9b92-4847-96bc-2e51e5bf7907" providerId="ADAL" clId="{8222E77C-B75B-4648-AAD8-E34B669EE4DB}" dt="2022-04-11T15:55:36.933" v="4939" actId="1038"/>
          <ac:spMkLst>
            <pc:docMk/>
            <pc:sldMk cId="3889080991" sldId="2687"/>
            <ac:spMk id="8" creationId="{087A12D4-B158-7E4B-A32E-1563687198E8}"/>
          </ac:spMkLst>
        </pc:spChg>
        <pc:spChg chg="add mod">
          <ac:chgData name="Stina Torell" userId="42ae74f8-9b92-4847-96bc-2e51e5bf7907" providerId="ADAL" clId="{8222E77C-B75B-4648-AAD8-E34B669EE4DB}" dt="2022-04-11T16:13:04.206" v="5229" actId="167"/>
          <ac:spMkLst>
            <pc:docMk/>
            <pc:sldMk cId="3889080991" sldId="2687"/>
            <ac:spMk id="9" creationId="{CE53201B-19E9-AF43-B979-52BBCF1653CB}"/>
          </ac:spMkLst>
        </pc:spChg>
        <pc:spChg chg="mod">
          <ac:chgData name="Stina Torell" userId="42ae74f8-9b92-4847-96bc-2e51e5bf7907" providerId="ADAL" clId="{8222E77C-B75B-4648-AAD8-E34B669EE4DB}" dt="2022-04-26T14:58:08.635" v="11474" actId="207"/>
          <ac:spMkLst>
            <pc:docMk/>
            <pc:sldMk cId="3889080991" sldId="2687"/>
            <ac:spMk id="10" creationId="{F8235FB9-2DE9-D645-9563-5890E1BF4F01}"/>
          </ac:spMkLst>
        </pc:spChg>
        <pc:spChg chg="mod">
          <ac:chgData name="Stina Torell" userId="42ae74f8-9b92-4847-96bc-2e51e5bf7907" providerId="ADAL" clId="{8222E77C-B75B-4648-AAD8-E34B669EE4DB}" dt="2022-04-11T14:50:08.668" v="4463" actId="404"/>
          <ac:spMkLst>
            <pc:docMk/>
            <pc:sldMk cId="3889080991" sldId="2687"/>
            <ac:spMk id="15" creationId="{394B662E-0E46-A449-BB60-D781148AFCF6}"/>
          </ac:spMkLst>
        </pc:spChg>
        <pc:spChg chg="del mod">
          <ac:chgData name="Stina Torell" userId="42ae74f8-9b92-4847-96bc-2e51e5bf7907" providerId="ADAL" clId="{8222E77C-B75B-4648-AAD8-E34B669EE4DB}" dt="2022-04-11T14:44:03.760" v="4275" actId="478"/>
          <ac:spMkLst>
            <pc:docMk/>
            <pc:sldMk cId="3889080991" sldId="2687"/>
            <ac:spMk id="18" creationId="{12313B7D-1B06-4643-B5E3-076D4A21AD49}"/>
          </ac:spMkLst>
        </pc:spChg>
        <pc:spChg chg="del mod">
          <ac:chgData name="Stina Torell" userId="42ae74f8-9b92-4847-96bc-2e51e5bf7907" providerId="ADAL" clId="{8222E77C-B75B-4648-AAD8-E34B669EE4DB}" dt="2022-04-11T14:44:45.627" v="4284" actId="478"/>
          <ac:spMkLst>
            <pc:docMk/>
            <pc:sldMk cId="3889080991" sldId="2687"/>
            <ac:spMk id="23" creationId="{8131FAAC-093C-1B44-A62B-8398FEECDC6A}"/>
          </ac:spMkLst>
        </pc:spChg>
        <pc:spChg chg="add del mod">
          <ac:chgData name="Stina Torell" userId="42ae74f8-9b92-4847-96bc-2e51e5bf7907" providerId="ADAL" clId="{8222E77C-B75B-4648-AAD8-E34B669EE4DB}" dt="2022-04-11T16:25:18.666" v="5477" actId="478"/>
          <ac:spMkLst>
            <pc:docMk/>
            <pc:sldMk cId="3889080991" sldId="2687"/>
            <ac:spMk id="27" creationId="{769A8FDC-9E15-C845-AD56-98FA7E415306}"/>
          </ac:spMkLst>
        </pc:spChg>
        <pc:spChg chg="add mod">
          <ac:chgData name="Stina Torell" userId="42ae74f8-9b92-4847-96bc-2e51e5bf7907" providerId="ADAL" clId="{8222E77C-B75B-4648-AAD8-E34B669EE4DB}" dt="2022-04-26T14:57:58.533" v="11473" actId="207"/>
          <ac:spMkLst>
            <pc:docMk/>
            <pc:sldMk cId="3889080991" sldId="2687"/>
            <ac:spMk id="30" creationId="{3D026271-8A4C-EB48-938B-D9CF7C460FB1}"/>
          </ac:spMkLst>
        </pc:spChg>
        <pc:spChg chg="mod">
          <ac:chgData name="Stina Torell" userId="42ae74f8-9b92-4847-96bc-2e51e5bf7907" providerId="ADAL" clId="{8222E77C-B75B-4648-AAD8-E34B669EE4DB}" dt="2022-04-11T16:14:48.330" v="5261" actId="20577"/>
          <ac:spMkLst>
            <pc:docMk/>
            <pc:sldMk cId="3889080991" sldId="2687"/>
            <ac:spMk id="31" creationId="{51F35C31-1077-5C48-B101-D3B5A23A7480}"/>
          </ac:spMkLst>
        </pc:spChg>
        <pc:spChg chg="add del mod">
          <ac:chgData name="Stina Torell" userId="42ae74f8-9b92-4847-96bc-2e51e5bf7907" providerId="ADAL" clId="{8222E77C-B75B-4648-AAD8-E34B669EE4DB}" dt="2022-04-11T16:27:49.791" v="5557" actId="478"/>
          <ac:spMkLst>
            <pc:docMk/>
            <pc:sldMk cId="3889080991" sldId="2687"/>
            <ac:spMk id="32" creationId="{2DA02353-EA6A-0040-B612-F49128F73C41}"/>
          </ac:spMkLst>
        </pc:spChg>
        <pc:spChg chg="add mod">
          <ac:chgData name="Stina Torell" userId="42ae74f8-9b92-4847-96bc-2e51e5bf7907" providerId="ADAL" clId="{8222E77C-B75B-4648-AAD8-E34B669EE4DB}" dt="2022-04-26T14:57:58.533" v="11473" actId="207"/>
          <ac:spMkLst>
            <pc:docMk/>
            <pc:sldMk cId="3889080991" sldId="2687"/>
            <ac:spMk id="33" creationId="{0CDD781E-DC97-8548-9ACB-140E2E284575}"/>
          </ac:spMkLst>
        </pc:spChg>
        <pc:spChg chg="add mod">
          <ac:chgData name="Stina Torell" userId="42ae74f8-9b92-4847-96bc-2e51e5bf7907" providerId="ADAL" clId="{8222E77C-B75B-4648-AAD8-E34B669EE4DB}" dt="2022-04-11T16:24:34.427" v="5467" actId="790"/>
          <ac:spMkLst>
            <pc:docMk/>
            <pc:sldMk cId="3889080991" sldId="2687"/>
            <ac:spMk id="34" creationId="{C8D0A4FF-26A5-2447-BA74-F59F63B70D7A}"/>
          </ac:spMkLst>
        </pc:spChg>
        <pc:spChg chg="del mod">
          <ac:chgData name="Stina Torell" userId="42ae74f8-9b92-4847-96bc-2e51e5bf7907" providerId="ADAL" clId="{8222E77C-B75B-4648-AAD8-E34B669EE4DB}" dt="2022-04-11T14:50:18.044" v="4466" actId="478"/>
          <ac:spMkLst>
            <pc:docMk/>
            <pc:sldMk cId="3889080991" sldId="2687"/>
            <ac:spMk id="35" creationId="{99465B3F-B1D2-084B-A374-D59A30E6466B}"/>
          </ac:spMkLst>
        </pc:spChg>
        <pc:spChg chg="add del mod">
          <ac:chgData name="Stina Torell" userId="42ae74f8-9b92-4847-96bc-2e51e5bf7907" providerId="ADAL" clId="{8222E77C-B75B-4648-AAD8-E34B669EE4DB}" dt="2022-04-11T14:49:16.046" v="4344" actId="478"/>
          <ac:spMkLst>
            <pc:docMk/>
            <pc:sldMk cId="3889080991" sldId="2687"/>
            <ac:spMk id="36" creationId="{C638B203-45EB-7642-8F9B-6AEF79477FB7}"/>
          </ac:spMkLst>
        </pc:spChg>
        <pc:spChg chg="add del mod">
          <ac:chgData name="Stina Torell" userId="42ae74f8-9b92-4847-96bc-2e51e5bf7907" providerId="ADAL" clId="{8222E77C-B75B-4648-AAD8-E34B669EE4DB}" dt="2022-04-11T14:49:21.423" v="4345" actId="478"/>
          <ac:spMkLst>
            <pc:docMk/>
            <pc:sldMk cId="3889080991" sldId="2687"/>
            <ac:spMk id="37" creationId="{BACB64A4-55DE-A84F-9DCF-B30DAD2D133A}"/>
          </ac:spMkLst>
        </pc:spChg>
        <pc:spChg chg="add mod">
          <ac:chgData name="Stina Torell" userId="42ae74f8-9b92-4847-96bc-2e51e5bf7907" providerId="ADAL" clId="{8222E77C-B75B-4648-AAD8-E34B669EE4DB}" dt="2022-04-26T14:57:58.533" v="11473" actId="207"/>
          <ac:spMkLst>
            <pc:docMk/>
            <pc:sldMk cId="3889080991" sldId="2687"/>
            <ac:spMk id="38" creationId="{14EBECA5-5C85-1640-870C-A26CBA91DBFF}"/>
          </ac:spMkLst>
        </pc:spChg>
        <pc:spChg chg="add mod">
          <ac:chgData name="Stina Torell" userId="42ae74f8-9b92-4847-96bc-2e51e5bf7907" providerId="ADAL" clId="{8222E77C-B75B-4648-AAD8-E34B669EE4DB}" dt="2022-04-26T14:57:58.533" v="11473" actId="207"/>
          <ac:spMkLst>
            <pc:docMk/>
            <pc:sldMk cId="3889080991" sldId="2687"/>
            <ac:spMk id="39" creationId="{E5C0E4F1-9E83-1D4E-A6DB-E21201A97B9B}"/>
          </ac:spMkLst>
        </pc:spChg>
        <pc:spChg chg="add mod">
          <ac:chgData name="Stina Torell" userId="42ae74f8-9b92-4847-96bc-2e51e5bf7907" providerId="ADAL" clId="{8222E77C-B75B-4648-AAD8-E34B669EE4DB}" dt="2022-04-26T14:57:58.533" v="11473" actId="207"/>
          <ac:spMkLst>
            <pc:docMk/>
            <pc:sldMk cId="3889080991" sldId="2687"/>
            <ac:spMk id="40" creationId="{2461BFFC-C121-9541-9E81-A6D864A9A71D}"/>
          </ac:spMkLst>
        </pc:spChg>
        <pc:spChg chg="add mod">
          <ac:chgData name="Stina Torell" userId="42ae74f8-9b92-4847-96bc-2e51e5bf7907" providerId="ADAL" clId="{8222E77C-B75B-4648-AAD8-E34B669EE4DB}" dt="2022-04-11T15:58:38.674" v="4992" actId="1037"/>
          <ac:spMkLst>
            <pc:docMk/>
            <pc:sldMk cId="3889080991" sldId="2687"/>
            <ac:spMk id="41" creationId="{D730D496-31BD-A445-AE4D-E4FF34AF16F4}"/>
          </ac:spMkLst>
        </pc:spChg>
        <pc:spChg chg="add mod">
          <ac:chgData name="Stina Torell" userId="42ae74f8-9b92-4847-96bc-2e51e5bf7907" providerId="ADAL" clId="{8222E77C-B75B-4648-AAD8-E34B669EE4DB}" dt="2022-04-11T15:58:38.674" v="4992" actId="1037"/>
          <ac:spMkLst>
            <pc:docMk/>
            <pc:sldMk cId="3889080991" sldId="2687"/>
            <ac:spMk id="42" creationId="{E3C24F62-3219-5348-97A3-8368D449C3E2}"/>
          </ac:spMkLst>
        </pc:spChg>
        <pc:spChg chg="add mod">
          <ac:chgData name="Stina Torell" userId="42ae74f8-9b92-4847-96bc-2e51e5bf7907" providerId="ADAL" clId="{8222E77C-B75B-4648-AAD8-E34B669EE4DB}" dt="2022-04-11T15:58:38.674" v="4992" actId="1037"/>
          <ac:spMkLst>
            <pc:docMk/>
            <pc:sldMk cId="3889080991" sldId="2687"/>
            <ac:spMk id="43" creationId="{7C3BF357-0BF8-C741-BAB5-E536DE825A61}"/>
          </ac:spMkLst>
        </pc:spChg>
        <pc:spChg chg="add mod">
          <ac:chgData name="Stina Torell" userId="42ae74f8-9b92-4847-96bc-2e51e5bf7907" providerId="ADAL" clId="{8222E77C-B75B-4648-AAD8-E34B669EE4DB}" dt="2022-04-11T15:58:38.674" v="4992" actId="1037"/>
          <ac:spMkLst>
            <pc:docMk/>
            <pc:sldMk cId="3889080991" sldId="2687"/>
            <ac:spMk id="44" creationId="{B6D88D87-7EEB-3B46-AE4B-D44E7696BC3D}"/>
          </ac:spMkLst>
        </pc:spChg>
        <pc:spChg chg="add del mod">
          <ac:chgData name="Stina Torell" userId="42ae74f8-9b92-4847-96bc-2e51e5bf7907" providerId="ADAL" clId="{8222E77C-B75B-4648-AAD8-E34B669EE4DB}" dt="2022-04-11T15:54:06.006" v="4921" actId="478"/>
          <ac:spMkLst>
            <pc:docMk/>
            <pc:sldMk cId="3889080991" sldId="2687"/>
            <ac:spMk id="45" creationId="{A534E570-B845-DD47-85C7-A6D93AF7823A}"/>
          </ac:spMkLst>
        </pc:spChg>
        <pc:spChg chg="add del mod">
          <ac:chgData name="Stina Torell" userId="42ae74f8-9b92-4847-96bc-2e51e5bf7907" providerId="ADAL" clId="{8222E77C-B75B-4648-AAD8-E34B669EE4DB}" dt="2022-04-11T15:54:07.870" v="4922" actId="478"/>
          <ac:spMkLst>
            <pc:docMk/>
            <pc:sldMk cId="3889080991" sldId="2687"/>
            <ac:spMk id="46" creationId="{3730FD9A-EDEE-2941-B4CF-B0A9038BAAE4}"/>
          </ac:spMkLst>
        </pc:spChg>
        <pc:spChg chg="add del mod">
          <ac:chgData name="Stina Torell" userId="42ae74f8-9b92-4847-96bc-2e51e5bf7907" providerId="ADAL" clId="{8222E77C-B75B-4648-AAD8-E34B669EE4DB}" dt="2022-04-11T15:55:02.743" v="4930" actId="478"/>
          <ac:spMkLst>
            <pc:docMk/>
            <pc:sldMk cId="3889080991" sldId="2687"/>
            <ac:spMk id="47" creationId="{8635D0F0-158F-6D4A-A988-A5958A42836D}"/>
          </ac:spMkLst>
        </pc:spChg>
        <pc:spChg chg="add del mod">
          <ac:chgData name="Stina Torell" userId="42ae74f8-9b92-4847-96bc-2e51e5bf7907" providerId="ADAL" clId="{8222E77C-B75B-4648-AAD8-E34B669EE4DB}" dt="2022-04-11T15:55:03.672" v="4931" actId="478"/>
          <ac:spMkLst>
            <pc:docMk/>
            <pc:sldMk cId="3889080991" sldId="2687"/>
            <ac:spMk id="48" creationId="{983C8CB2-F97C-4449-B01F-304ABCEB1DF9}"/>
          </ac:spMkLst>
        </pc:spChg>
        <pc:spChg chg="add mod">
          <ac:chgData name="Stina Torell" userId="42ae74f8-9b92-4847-96bc-2e51e5bf7907" providerId="ADAL" clId="{8222E77C-B75B-4648-AAD8-E34B669EE4DB}" dt="2022-04-11T15:55:36.933" v="4939" actId="1038"/>
          <ac:spMkLst>
            <pc:docMk/>
            <pc:sldMk cId="3889080991" sldId="2687"/>
            <ac:spMk id="49" creationId="{EB1C317B-305B-5649-BE4A-24D7D44C29D4}"/>
          </ac:spMkLst>
        </pc:spChg>
        <pc:spChg chg="add mod">
          <ac:chgData name="Stina Torell" userId="42ae74f8-9b92-4847-96bc-2e51e5bf7907" providerId="ADAL" clId="{8222E77C-B75B-4648-AAD8-E34B669EE4DB}" dt="2022-04-11T15:55:18.886" v="4934" actId="688"/>
          <ac:spMkLst>
            <pc:docMk/>
            <pc:sldMk cId="3889080991" sldId="2687"/>
            <ac:spMk id="50" creationId="{2AC2F495-C640-FA45-AB9E-D23863DD2B55}"/>
          </ac:spMkLst>
        </pc:spChg>
        <pc:spChg chg="add mod">
          <ac:chgData name="Stina Torell" userId="42ae74f8-9b92-4847-96bc-2e51e5bf7907" providerId="ADAL" clId="{8222E77C-B75B-4648-AAD8-E34B669EE4DB}" dt="2022-04-11T15:55:28.283" v="4935" actId="1076"/>
          <ac:spMkLst>
            <pc:docMk/>
            <pc:sldMk cId="3889080991" sldId="2687"/>
            <ac:spMk id="51" creationId="{ED7F3251-CA2D-1E4E-9DA2-CAD0CEF7845B}"/>
          </ac:spMkLst>
        </pc:spChg>
        <pc:spChg chg="add del mod">
          <ac:chgData name="Stina Torell" userId="42ae74f8-9b92-4847-96bc-2e51e5bf7907" providerId="ADAL" clId="{8222E77C-B75B-4648-AAD8-E34B669EE4DB}" dt="2022-04-11T19:50:37.838" v="6011" actId="478"/>
          <ac:spMkLst>
            <pc:docMk/>
            <pc:sldMk cId="3889080991" sldId="2687"/>
            <ac:spMk id="52" creationId="{2E19976A-4610-C743-8CB5-4833EF2B5845}"/>
          </ac:spMkLst>
        </pc:spChg>
        <pc:spChg chg="add del mod">
          <ac:chgData name="Stina Torell" userId="42ae74f8-9b92-4847-96bc-2e51e5bf7907" providerId="ADAL" clId="{8222E77C-B75B-4648-AAD8-E34B669EE4DB}" dt="2022-04-11T19:50:34.908" v="6010" actId="478"/>
          <ac:spMkLst>
            <pc:docMk/>
            <pc:sldMk cId="3889080991" sldId="2687"/>
            <ac:spMk id="53" creationId="{C11D13A4-78BA-2243-9BFE-F19955C1A7D4}"/>
          </ac:spMkLst>
        </pc:spChg>
        <pc:spChg chg="add del mod">
          <ac:chgData name="Stina Torell" userId="42ae74f8-9b92-4847-96bc-2e51e5bf7907" providerId="ADAL" clId="{8222E77C-B75B-4648-AAD8-E34B669EE4DB}" dt="2022-04-11T16:12:12.802" v="5139" actId="478"/>
          <ac:spMkLst>
            <pc:docMk/>
            <pc:sldMk cId="3889080991" sldId="2687"/>
            <ac:spMk id="54" creationId="{1256F8D7-19A9-3841-8374-CB507453EE14}"/>
          </ac:spMkLst>
        </pc:spChg>
        <pc:spChg chg="add del mod">
          <ac:chgData name="Stina Torell" userId="42ae74f8-9b92-4847-96bc-2e51e5bf7907" providerId="ADAL" clId="{8222E77C-B75B-4648-AAD8-E34B669EE4DB}" dt="2022-04-11T16:12:15.769" v="5140" actId="478"/>
          <ac:spMkLst>
            <pc:docMk/>
            <pc:sldMk cId="3889080991" sldId="2687"/>
            <ac:spMk id="55" creationId="{22D3AF67-DBA8-FE42-8627-22FF46CD7B99}"/>
          </ac:spMkLst>
        </pc:spChg>
        <pc:spChg chg="add del mod">
          <ac:chgData name="Stina Torell" userId="42ae74f8-9b92-4847-96bc-2e51e5bf7907" providerId="ADAL" clId="{8222E77C-B75B-4648-AAD8-E34B669EE4DB}" dt="2022-04-11T16:00:26.696" v="5012" actId="478"/>
          <ac:spMkLst>
            <pc:docMk/>
            <pc:sldMk cId="3889080991" sldId="2687"/>
            <ac:spMk id="56" creationId="{4BBD443B-8F1A-4D4E-B836-B822740D4F94}"/>
          </ac:spMkLst>
        </pc:spChg>
        <pc:spChg chg="add del mod">
          <ac:chgData name="Stina Torell" userId="42ae74f8-9b92-4847-96bc-2e51e5bf7907" providerId="ADAL" clId="{8222E77C-B75B-4648-AAD8-E34B669EE4DB}" dt="2022-04-11T16:00:26.696" v="5012" actId="478"/>
          <ac:spMkLst>
            <pc:docMk/>
            <pc:sldMk cId="3889080991" sldId="2687"/>
            <ac:spMk id="57" creationId="{76B31D8F-0BC6-134D-8541-8C30B2BEEC3E}"/>
          </ac:spMkLst>
        </pc:spChg>
        <pc:spChg chg="add del mod">
          <ac:chgData name="Stina Torell" userId="42ae74f8-9b92-4847-96bc-2e51e5bf7907" providerId="ADAL" clId="{8222E77C-B75B-4648-AAD8-E34B669EE4DB}" dt="2022-04-11T16:00:34.907" v="5016"/>
          <ac:spMkLst>
            <pc:docMk/>
            <pc:sldMk cId="3889080991" sldId="2687"/>
            <ac:spMk id="58" creationId="{A9B46FDA-D4AD-8E40-91B7-EE6C44DE18A8}"/>
          </ac:spMkLst>
        </pc:spChg>
        <pc:spChg chg="add del mod">
          <ac:chgData name="Stina Torell" userId="42ae74f8-9b92-4847-96bc-2e51e5bf7907" providerId="ADAL" clId="{8222E77C-B75B-4648-AAD8-E34B669EE4DB}" dt="2022-04-11T16:00:34.907" v="5016"/>
          <ac:spMkLst>
            <pc:docMk/>
            <pc:sldMk cId="3889080991" sldId="2687"/>
            <ac:spMk id="59" creationId="{F558ED5F-0EFE-FB4E-883F-08F820FD2E51}"/>
          </ac:spMkLst>
        </pc:spChg>
        <pc:spChg chg="add del mod">
          <ac:chgData name="Stina Torell" userId="42ae74f8-9b92-4847-96bc-2e51e5bf7907" providerId="ADAL" clId="{8222E77C-B75B-4648-AAD8-E34B669EE4DB}" dt="2022-04-11T16:01:06.569" v="5024" actId="478"/>
          <ac:spMkLst>
            <pc:docMk/>
            <pc:sldMk cId="3889080991" sldId="2687"/>
            <ac:spMk id="60" creationId="{CCDF0287-55AF-7246-BC15-1DC793334DB6}"/>
          </ac:spMkLst>
        </pc:spChg>
        <pc:spChg chg="add del mod">
          <ac:chgData name="Stina Torell" userId="42ae74f8-9b92-4847-96bc-2e51e5bf7907" providerId="ADAL" clId="{8222E77C-B75B-4648-AAD8-E34B669EE4DB}" dt="2022-04-11T16:09:07.428" v="5116" actId="478"/>
          <ac:spMkLst>
            <pc:docMk/>
            <pc:sldMk cId="3889080991" sldId="2687"/>
            <ac:spMk id="61" creationId="{71990F81-1DE4-574D-950B-D7088B665C0C}"/>
          </ac:spMkLst>
        </pc:spChg>
        <pc:spChg chg="add del mod">
          <ac:chgData name="Stina Torell" userId="42ae74f8-9b92-4847-96bc-2e51e5bf7907" providerId="ADAL" clId="{8222E77C-B75B-4648-AAD8-E34B669EE4DB}" dt="2022-04-11T16:03:02.640" v="5048" actId="478"/>
          <ac:spMkLst>
            <pc:docMk/>
            <pc:sldMk cId="3889080991" sldId="2687"/>
            <ac:spMk id="62" creationId="{C5BD537A-D7F2-E244-9D98-EC49D7D4F4B1}"/>
          </ac:spMkLst>
        </pc:spChg>
        <pc:spChg chg="add del mod">
          <ac:chgData name="Stina Torell" userId="42ae74f8-9b92-4847-96bc-2e51e5bf7907" providerId="ADAL" clId="{8222E77C-B75B-4648-AAD8-E34B669EE4DB}" dt="2022-04-11T16:02:42.785" v="5042" actId="478"/>
          <ac:spMkLst>
            <pc:docMk/>
            <pc:sldMk cId="3889080991" sldId="2687"/>
            <ac:spMk id="63" creationId="{4403C934-34D6-394C-AB18-0E5F52E0949D}"/>
          </ac:spMkLst>
        </pc:spChg>
        <pc:spChg chg="add del mod">
          <ac:chgData name="Stina Torell" userId="42ae74f8-9b92-4847-96bc-2e51e5bf7907" providerId="ADAL" clId="{8222E77C-B75B-4648-AAD8-E34B669EE4DB}" dt="2022-04-11T16:02:45.042" v="5043" actId="478"/>
          <ac:spMkLst>
            <pc:docMk/>
            <pc:sldMk cId="3889080991" sldId="2687"/>
            <ac:spMk id="64" creationId="{349806B5-FE52-FC40-8DEE-E9F53E0D1335}"/>
          </ac:spMkLst>
        </pc:spChg>
        <pc:spChg chg="add del mod">
          <ac:chgData name="Stina Torell" userId="42ae74f8-9b92-4847-96bc-2e51e5bf7907" providerId="ADAL" clId="{8222E77C-B75B-4648-AAD8-E34B669EE4DB}" dt="2022-04-11T16:02:46.074" v="5044" actId="478"/>
          <ac:spMkLst>
            <pc:docMk/>
            <pc:sldMk cId="3889080991" sldId="2687"/>
            <ac:spMk id="65" creationId="{03CAE069-C4E2-5A43-B91C-6F580B0837AB}"/>
          </ac:spMkLst>
        </pc:spChg>
        <pc:spChg chg="add del mod">
          <ac:chgData name="Stina Torell" userId="42ae74f8-9b92-4847-96bc-2e51e5bf7907" providerId="ADAL" clId="{8222E77C-B75B-4648-AAD8-E34B669EE4DB}" dt="2022-04-11T16:02:47.819" v="5045" actId="478"/>
          <ac:spMkLst>
            <pc:docMk/>
            <pc:sldMk cId="3889080991" sldId="2687"/>
            <ac:spMk id="66" creationId="{274EE826-BC4D-0D4B-869B-4725E4FA771F}"/>
          </ac:spMkLst>
        </pc:spChg>
        <pc:spChg chg="add del mod">
          <ac:chgData name="Stina Torell" userId="42ae74f8-9b92-4847-96bc-2e51e5bf7907" providerId="ADAL" clId="{8222E77C-B75B-4648-AAD8-E34B669EE4DB}" dt="2022-04-11T16:02:49.777" v="5046" actId="478"/>
          <ac:spMkLst>
            <pc:docMk/>
            <pc:sldMk cId="3889080991" sldId="2687"/>
            <ac:spMk id="67" creationId="{113AFD3D-D117-EA40-AF6E-D81E8E062FE9}"/>
          </ac:spMkLst>
        </pc:spChg>
        <pc:spChg chg="add del mod">
          <ac:chgData name="Stina Torell" userId="42ae74f8-9b92-4847-96bc-2e51e5bf7907" providerId="ADAL" clId="{8222E77C-B75B-4648-AAD8-E34B669EE4DB}" dt="2022-04-11T16:02:37.433" v="5041" actId="478"/>
          <ac:spMkLst>
            <pc:docMk/>
            <pc:sldMk cId="3889080991" sldId="2687"/>
            <ac:spMk id="68" creationId="{8CB302F4-EEFF-D143-AD3F-158EF9AA4324}"/>
          </ac:spMkLst>
        </pc:spChg>
        <pc:spChg chg="add del mod">
          <ac:chgData name="Stina Torell" userId="42ae74f8-9b92-4847-96bc-2e51e5bf7907" providerId="ADAL" clId="{8222E77C-B75B-4648-AAD8-E34B669EE4DB}" dt="2022-04-11T16:02:09.488" v="5039" actId="478"/>
          <ac:spMkLst>
            <pc:docMk/>
            <pc:sldMk cId="3889080991" sldId="2687"/>
            <ac:spMk id="69" creationId="{28412D2D-F049-894E-8CE9-E3C1FBED6631}"/>
          </ac:spMkLst>
        </pc:spChg>
        <pc:spChg chg="add del mod">
          <ac:chgData name="Stina Torell" userId="42ae74f8-9b92-4847-96bc-2e51e5bf7907" providerId="ADAL" clId="{8222E77C-B75B-4648-AAD8-E34B669EE4DB}" dt="2022-04-11T16:09:08.957" v="5117" actId="478"/>
          <ac:spMkLst>
            <pc:docMk/>
            <pc:sldMk cId="3889080991" sldId="2687"/>
            <ac:spMk id="70" creationId="{22409813-2D67-7448-982A-55224F02B438}"/>
          </ac:spMkLst>
        </pc:spChg>
        <pc:spChg chg="add del mod">
          <ac:chgData name="Stina Torell" userId="42ae74f8-9b92-4847-96bc-2e51e5bf7907" providerId="ADAL" clId="{8222E77C-B75B-4648-AAD8-E34B669EE4DB}" dt="2022-04-11T16:04:28.748" v="5059" actId="478"/>
          <ac:spMkLst>
            <pc:docMk/>
            <pc:sldMk cId="3889080991" sldId="2687"/>
            <ac:spMk id="71" creationId="{E58F9275-1C9F-AC4D-8335-B23A54D75755}"/>
          </ac:spMkLst>
        </pc:spChg>
        <pc:spChg chg="add del mod">
          <ac:chgData name="Stina Torell" userId="42ae74f8-9b92-4847-96bc-2e51e5bf7907" providerId="ADAL" clId="{8222E77C-B75B-4648-AAD8-E34B669EE4DB}" dt="2022-04-11T16:04:28.748" v="5059" actId="478"/>
          <ac:spMkLst>
            <pc:docMk/>
            <pc:sldMk cId="3889080991" sldId="2687"/>
            <ac:spMk id="72" creationId="{F35B58AF-6EAF-BA4E-B2C0-BD5879C7A0F6}"/>
          </ac:spMkLst>
        </pc:spChg>
        <pc:spChg chg="add mod">
          <ac:chgData name="Stina Torell" userId="42ae74f8-9b92-4847-96bc-2e51e5bf7907" providerId="ADAL" clId="{8222E77C-B75B-4648-AAD8-E34B669EE4DB}" dt="2022-04-11T16:17:05.719" v="5317" actId="1038"/>
          <ac:spMkLst>
            <pc:docMk/>
            <pc:sldMk cId="3889080991" sldId="2687"/>
            <ac:spMk id="73" creationId="{9A730CBA-82ED-BF42-84A3-80E2456C552E}"/>
          </ac:spMkLst>
        </pc:spChg>
        <pc:spChg chg="add mod">
          <ac:chgData name="Stina Torell" userId="42ae74f8-9b92-4847-96bc-2e51e5bf7907" providerId="ADAL" clId="{8222E77C-B75B-4648-AAD8-E34B669EE4DB}" dt="2022-04-11T16:17:02.401" v="5314" actId="1038"/>
          <ac:spMkLst>
            <pc:docMk/>
            <pc:sldMk cId="3889080991" sldId="2687"/>
            <ac:spMk id="74" creationId="{C66B5E5B-826C-044E-A865-E337856A8870}"/>
          </ac:spMkLst>
        </pc:spChg>
        <pc:spChg chg="add mod">
          <ac:chgData name="Stina Torell" userId="42ae74f8-9b92-4847-96bc-2e51e5bf7907" providerId="ADAL" clId="{8222E77C-B75B-4648-AAD8-E34B669EE4DB}" dt="2022-04-26T14:57:58.533" v="11473" actId="207"/>
          <ac:spMkLst>
            <pc:docMk/>
            <pc:sldMk cId="3889080991" sldId="2687"/>
            <ac:spMk id="75" creationId="{C8953534-285F-8941-98C4-4E19E02B6C81}"/>
          </ac:spMkLst>
        </pc:spChg>
        <pc:spChg chg="add mod">
          <ac:chgData name="Stina Torell" userId="42ae74f8-9b92-4847-96bc-2e51e5bf7907" providerId="ADAL" clId="{8222E77C-B75B-4648-AAD8-E34B669EE4DB}" dt="2022-04-26T14:57:58.533" v="11473" actId="207"/>
          <ac:spMkLst>
            <pc:docMk/>
            <pc:sldMk cId="3889080991" sldId="2687"/>
            <ac:spMk id="76" creationId="{3969B20A-32EC-F440-9608-57B93512020E}"/>
          </ac:spMkLst>
        </pc:spChg>
        <pc:spChg chg="add mod">
          <ac:chgData name="Stina Torell" userId="42ae74f8-9b92-4847-96bc-2e51e5bf7907" providerId="ADAL" clId="{8222E77C-B75B-4648-AAD8-E34B669EE4DB}" dt="2022-04-11T16:17:02.401" v="5314" actId="1038"/>
          <ac:spMkLst>
            <pc:docMk/>
            <pc:sldMk cId="3889080991" sldId="2687"/>
            <ac:spMk id="77" creationId="{1BB2ACA0-21BC-214B-A9A1-ACFAFD2FBDEE}"/>
          </ac:spMkLst>
        </pc:spChg>
        <pc:spChg chg="add mod">
          <ac:chgData name="Stina Torell" userId="42ae74f8-9b92-4847-96bc-2e51e5bf7907" providerId="ADAL" clId="{8222E77C-B75B-4648-AAD8-E34B669EE4DB}" dt="2022-04-26T14:57:58.533" v="11473" actId="207"/>
          <ac:spMkLst>
            <pc:docMk/>
            <pc:sldMk cId="3889080991" sldId="2687"/>
            <ac:spMk id="78" creationId="{F96FC36C-EFE7-8546-AE28-1B55C133F5FC}"/>
          </ac:spMkLst>
        </pc:spChg>
        <pc:spChg chg="add mod">
          <ac:chgData name="Stina Torell" userId="42ae74f8-9b92-4847-96bc-2e51e5bf7907" providerId="ADAL" clId="{8222E77C-B75B-4648-AAD8-E34B669EE4DB}" dt="2022-04-11T16:18:50.747" v="5379" actId="20577"/>
          <ac:spMkLst>
            <pc:docMk/>
            <pc:sldMk cId="3889080991" sldId="2687"/>
            <ac:spMk id="79" creationId="{6890AA8F-2558-5B48-8408-10B60B9F64CC}"/>
          </ac:spMkLst>
        </pc:spChg>
        <pc:spChg chg="add del mod">
          <ac:chgData name="Stina Torell" userId="42ae74f8-9b92-4847-96bc-2e51e5bf7907" providerId="ADAL" clId="{8222E77C-B75B-4648-AAD8-E34B669EE4DB}" dt="2022-04-11T16:07:42.314" v="5099" actId="478"/>
          <ac:spMkLst>
            <pc:docMk/>
            <pc:sldMk cId="3889080991" sldId="2687"/>
            <ac:spMk id="80" creationId="{3D049601-F5EA-4F43-93AC-59A02044D635}"/>
          </ac:spMkLst>
        </pc:spChg>
        <pc:spChg chg="add mod">
          <ac:chgData name="Stina Torell" userId="42ae74f8-9b92-4847-96bc-2e51e5bf7907" providerId="ADAL" clId="{8222E77C-B75B-4648-AAD8-E34B669EE4DB}" dt="2022-04-14T09:42:14.904" v="8574" actId="1582"/>
          <ac:spMkLst>
            <pc:docMk/>
            <pc:sldMk cId="3889080991" sldId="2687"/>
            <ac:spMk id="80" creationId="{ACA2A191-63E0-B449-B8A1-E846BCE46D3C}"/>
          </ac:spMkLst>
        </pc:spChg>
        <pc:spChg chg="add mod">
          <ac:chgData name="Stina Torell" userId="42ae74f8-9b92-4847-96bc-2e51e5bf7907" providerId="ADAL" clId="{8222E77C-B75B-4648-AAD8-E34B669EE4DB}" dt="2022-04-26T15:00:33.695" v="11485" actId="1037"/>
          <ac:spMkLst>
            <pc:docMk/>
            <pc:sldMk cId="3889080991" sldId="2687"/>
            <ac:spMk id="81" creationId="{7F78C053-7F05-2A4E-971C-E3EFA65EBE0B}"/>
          </ac:spMkLst>
        </pc:spChg>
        <pc:spChg chg="add del mod">
          <ac:chgData name="Stina Torell" userId="42ae74f8-9b92-4847-96bc-2e51e5bf7907" providerId="ADAL" clId="{8222E77C-B75B-4648-AAD8-E34B669EE4DB}" dt="2022-04-11T16:07:43.912" v="5100" actId="478"/>
          <ac:spMkLst>
            <pc:docMk/>
            <pc:sldMk cId="3889080991" sldId="2687"/>
            <ac:spMk id="81" creationId="{ECC3B44C-335F-C046-9CC0-2E0E9A360557}"/>
          </ac:spMkLst>
        </pc:spChg>
        <pc:spChg chg="add del mod">
          <ac:chgData name="Stina Torell" userId="42ae74f8-9b92-4847-96bc-2e51e5bf7907" providerId="ADAL" clId="{8222E77C-B75B-4648-AAD8-E34B669EE4DB}" dt="2022-04-11T16:08:05.311" v="5107"/>
          <ac:spMkLst>
            <pc:docMk/>
            <pc:sldMk cId="3889080991" sldId="2687"/>
            <ac:spMk id="82" creationId="{00263038-07C1-9A4C-8CD2-CFEED9F1C5A0}"/>
          </ac:spMkLst>
        </pc:spChg>
        <pc:spChg chg="add del mod">
          <ac:chgData name="Stina Torell" userId="42ae74f8-9b92-4847-96bc-2e51e5bf7907" providerId="ADAL" clId="{8222E77C-B75B-4648-AAD8-E34B669EE4DB}" dt="2022-04-20T07:56:52.598" v="9407" actId="478"/>
          <ac:spMkLst>
            <pc:docMk/>
            <pc:sldMk cId="3889080991" sldId="2687"/>
            <ac:spMk id="82" creationId="{B42F46F9-0F8F-D74A-8DE3-8C435E7F0A4C}"/>
          </ac:spMkLst>
        </pc:spChg>
        <pc:spChg chg="add del mod">
          <ac:chgData name="Stina Torell" userId="42ae74f8-9b92-4847-96bc-2e51e5bf7907" providerId="ADAL" clId="{8222E77C-B75B-4648-AAD8-E34B669EE4DB}" dt="2022-04-20T07:58:56.979" v="9460" actId="478"/>
          <ac:spMkLst>
            <pc:docMk/>
            <pc:sldMk cId="3889080991" sldId="2687"/>
            <ac:spMk id="83" creationId="{62208574-6452-4045-8898-7CACA2421088}"/>
          </ac:spMkLst>
        </pc:spChg>
        <pc:spChg chg="add del mod">
          <ac:chgData name="Stina Torell" userId="42ae74f8-9b92-4847-96bc-2e51e5bf7907" providerId="ADAL" clId="{8222E77C-B75B-4648-AAD8-E34B669EE4DB}" dt="2022-04-11T16:08:05.311" v="5107"/>
          <ac:spMkLst>
            <pc:docMk/>
            <pc:sldMk cId="3889080991" sldId="2687"/>
            <ac:spMk id="83" creationId="{C2BEE9A2-1111-0449-ACF6-0910EF74B5C5}"/>
          </ac:spMkLst>
        </pc:spChg>
        <pc:spChg chg="add mod">
          <ac:chgData name="Stina Torell" userId="42ae74f8-9b92-4847-96bc-2e51e5bf7907" providerId="ADAL" clId="{8222E77C-B75B-4648-AAD8-E34B669EE4DB}" dt="2022-04-26T14:57:58.533" v="11473" actId="207"/>
          <ac:spMkLst>
            <pc:docMk/>
            <pc:sldMk cId="3889080991" sldId="2687"/>
            <ac:spMk id="84" creationId="{A7EBB82D-CBE4-5749-8F32-7954CBFE07CB}"/>
          </ac:spMkLst>
        </pc:spChg>
        <pc:spChg chg="add mod">
          <ac:chgData name="Stina Torell" userId="42ae74f8-9b92-4847-96bc-2e51e5bf7907" providerId="ADAL" clId="{8222E77C-B75B-4648-AAD8-E34B669EE4DB}" dt="2022-04-11T16:18:16.441" v="5345" actId="1038"/>
          <ac:spMkLst>
            <pc:docMk/>
            <pc:sldMk cId="3889080991" sldId="2687"/>
            <ac:spMk id="85" creationId="{9C7BA561-6E1D-1943-8275-B29299790DD6}"/>
          </ac:spMkLst>
        </pc:spChg>
        <pc:spChg chg="add mod">
          <ac:chgData name="Stina Torell" userId="42ae74f8-9b92-4847-96bc-2e51e5bf7907" providerId="ADAL" clId="{8222E77C-B75B-4648-AAD8-E34B669EE4DB}" dt="2022-04-26T14:57:58.533" v="11473" actId="207"/>
          <ac:spMkLst>
            <pc:docMk/>
            <pc:sldMk cId="3889080991" sldId="2687"/>
            <ac:spMk id="86" creationId="{D2F404C8-D3FE-864C-B010-FEB33CD30104}"/>
          </ac:spMkLst>
        </pc:spChg>
        <pc:spChg chg="add mod">
          <ac:chgData name="Stina Torell" userId="42ae74f8-9b92-4847-96bc-2e51e5bf7907" providerId="ADAL" clId="{8222E77C-B75B-4648-AAD8-E34B669EE4DB}" dt="2022-04-11T16:17:58.405" v="5332" actId="1036"/>
          <ac:spMkLst>
            <pc:docMk/>
            <pc:sldMk cId="3889080991" sldId="2687"/>
            <ac:spMk id="87" creationId="{F7539151-729B-054A-B914-BD4D5116CC25}"/>
          </ac:spMkLst>
        </pc:spChg>
        <pc:spChg chg="add del mod">
          <ac:chgData name="Stina Torell" userId="42ae74f8-9b92-4847-96bc-2e51e5bf7907" providerId="ADAL" clId="{8222E77C-B75B-4648-AAD8-E34B669EE4DB}" dt="2022-04-11T16:17:43.144" v="5323" actId="478"/>
          <ac:spMkLst>
            <pc:docMk/>
            <pc:sldMk cId="3889080991" sldId="2687"/>
            <ac:spMk id="88" creationId="{113BE238-A08E-6E45-A953-DA6C6195EA3C}"/>
          </ac:spMkLst>
        </pc:spChg>
        <pc:spChg chg="add del mod">
          <ac:chgData name="Stina Torell" userId="42ae74f8-9b92-4847-96bc-2e51e5bf7907" providerId="ADAL" clId="{8222E77C-B75B-4648-AAD8-E34B669EE4DB}" dt="2022-04-20T07:58:31.220" v="9452" actId="478"/>
          <ac:spMkLst>
            <pc:docMk/>
            <pc:sldMk cId="3889080991" sldId="2687"/>
            <ac:spMk id="88" creationId="{A0BA1D6C-621B-6349-8087-2E1320C87E1C}"/>
          </ac:spMkLst>
        </pc:spChg>
        <pc:spChg chg="add mod">
          <ac:chgData name="Stina Torell" userId="42ae74f8-9b92-4847-96bc-2e51e5bf7907" providerId="ADAL" clId="{8222E77C-B75B-4648-AAD8-E34B669EE4DB}" dt="2022-04-26T15:00:50.496" v="11488" actId="14100"/>
          <ac:spMkLst>
            <pc:docMk/>
            <pc:sldMk cId="3889080991" sldId="2687"/>
            <ac:spMk id="89" creationId="{9F6E1244-4F84-8742-950C-E0C2D786ABB0}"/>
          </ac:spMkLst>
        </pc:spChg>
        <pc:spChg chg="add del mod">
          <ac:chgData name="Stina Torell" userId="42ae74f8-9b92-4847-96bc-2e51e5bf7907" providerId="ADAL" clId="{8222E77C-B75B-4648-AAD8-E34B669EE4DB}" dt="2022-04-11T16:17:43.144" v="5323" actId="478"/>
          <ac:spMkLst>
            <pc:docMk/>
            <pc:sldMk cId="3889080991" sldId="2687"/>
            <ac:spMk id="89" creationId="{B94BBC5C-1C43-FC4D-A0C3-CEF1DA4F5D6C}"/>
          </ac:spMkLst>
        </pc:spChg>
        <pc:spChg chg="mod">
          <ac:chgData name="Stina Torell" userId="42ae74f8-9b92-4847-96bc-2e51e5bf7907" providerId="ADAL" clId="{8222E77C-B75B-4648-AAD8-E34B669EE4DB}" dt="2022-04-11T16:24:34.427" v="5467" actId="790"/>
          <ac:spMkLst>
            <pc:docMk/>
            <pc:sldMk cId="3889080991" sldId="2687"/>
            <ac:spMk id="90" creationId="{36B2496A-E64F-2F40-AA3A-48AD2BEF58B7}"/>
          </ac:spMkLst>
        </pc:spChg>
        <pc:spChg chg="add del mod">
          <ac:chgData name="Stina Torell" userId="42ae74f8-9b92-4847-96bc-2e51e5bf7907" providerId="ADAL" clId="{8222E77C-B75B-4648-AAD8-E34B669EE4DB}" dt="2022-04-11T16:17:43.144" v="5323" actId="478"/>
          <ac:spMkLst>
            <pc:docMk/>
            <pc:sldMk cId="3889080991" sldId="2687"/>
            <ac:spMk id="91" creationId="{014EDB18-74A4-0844-9E15-5CB6C4891DBB}"/>
          </ac:spMkLst>
        </pc:spChg>
        <pc:spChg chg="add mod">
          <ac:chgData name="Stina Torell" userId="42ae74f8-9b92-4847-96bc-2e51e5bf7907" providerId="ADAL" clId="{8222E77C-B75B-4648-AAD8-E34B669EE4DB}" dt="2022-04-20T07:58:48.954" v="9459" actId="1035"/>
          <ac:spMkLst>
            <pc:docMk/>
            <pc:sldMk cId="3889080991" sldId="2687"/>
            <ac:spMk id="91" creationId="{596D649B-A031-B944-ADF6-F7A3A240912B}"/>
          </ac:spMkLst>
        </pc:spChg>
        <pc:spChg chg="add del mod">
          <ac:chgData name="Stina Torell" userId="42ae74f8-9b92-4847-96bc-2e51e5bf7907" providerId="ADAL" clId="{8222E77C-B75B-4648-AAD8-E34B669EE4DB}" dt="2022-04-11T15:53:14.589" v="4915" actId="1036"/>
          <ac:spMkLst>
            <pc:docMk/>
            <pc:sldMk cId="3889080991" sldId="2687"/>
            <ac:spMk id="92" creationId="{E2773201-072E-274C-B688-BD9E94BF823F}"/>
          </ac:spMkLst>
        </pc:spChg>
        <pc:spChg chg="add del mod">
          <ac:chgData name="Stina Torell" userId="42ae74f8-9b92-4847-96bc-2e51e5bf7907" providerId="ADAL" clId="{8222E77C-B75B-4648-AAD8-E34B669EE4DB}" dt="2022-04-11T16:17:43.144" v="5323" actId="478"/>
          <ac:spMkLst>
            <pc:docMk/>
            <pc:sldMk cId="3889080991" sldId="2687"/>
            <ac:spMk id="93" creationId="{45081AA8-2D5A-6244-A34F-7A3F2706098F}"/>
          </ac:spMkLst>
        </pc:spChg>
        <pc:spChg chg="add mod">
          <ac:chgData name="Stina Torell" userId="42ae74f8-9b92-4847-96bc-2e51e5bf7907" providerId="ADAL" clId="{8222E77C-B75B-4648-AAD8-E34B669EE4DB}" dt="2022-04-20T07:59:12.492" v="9528" actId="1036"/>
          <ac:spMkLst>
            <pc:docMk/>
            <pc:sldMk cId="3889080991" sldId="2687"/>
            <ac:spMk id="93" creationId="{ACDBD408-5865-C745-B5B0-B6D071DE400D}"/>
          </ac:spMkLst>
        </pc:spChg>
        <pc:spChg chg="add del mod">
          <ac:chgData name="Stina Torell" userId="42ae74f8-9b92-4847-96bc-2e51e5bf7907" providerId="ADAL" clId="{8222E77C-B75B-4648-AAD8-E34B669EE4DB}" dt="2022-04-11T16:17:43.144" v="5323" actId="478"/>
          <ac:spMkLst>
            <pc:docMk/>
            <pc:sldMk cId="3889080991" sldId="2687"/>
            <ac:spMk id="94" creationId="{F226FA6F-711B-DF40-8401-110C84EB468C}"/>
          </ac:spMkLst>
        </pc:spChg>
        <pc:spChg chg="add del mod">
          <ac:chgData name="Stina Torell" userId="42ae74f8-9b92-4847-96bc-2e51e5bf7907" providerId="ADAL" clId="{8222E77C-B75B-4648-AAD8-E34B669EE4DB}" dt="2022-04-11T16:17:43.144" v="5323" actId="478"/>
          <ac:spMkLst>
            <pc:docMk/>
            <pc:sldMk cId="3889080991" sldId="2687"/>
            <ac:spMk id="95" creationId="{702CA037-CBC3-5E42-883C-680A38B3B57D}"/>
          </ac:spMkLst>
        </pc:spChg>
        <pc:spChg chg="add del mod">
          <ac:chgData name="Stina Torell" userId="42ae74f8-9b92-4847-96bc-2e51e5bf7907" providerId="ADAL" clId="{8222E77C-B75B-4648-AAD8-E34B669EE4DB}" dt="2022-04-11T16:17:43.144" v="5323" actId="478"/>
          <ac:spMkLst>
            <pc:docMk/>
            <pc:sldMk cId="3889080991" sldId="2687"/>
            <ac:spMk id="96" creationId="{F068C3FD-0BA2-834E-8848-89345F531CD4}"/>
          </ac:spMkLst>
        </pc:spChg>
        <pc:spChg chg="add del mod">
          <ac:chgData name="Stina Torell" userId="42ae74f8-9b92-4847-96bc-2e51e5bf7907" providerId="ADAL" clId="{8222E77C-B75B-4648-AAD8-E34B669EE4DB}" dt="2022-04-11T16:21:47.873" v="5432" actId="478"/>
          <ac:spMkLst>
            <pc:docMk/>
            <pc:sldMk cId="3889080991" sldId="2687"/>
            <ac:spMk id="97" creationId="{98F34930-E008-674A-A832-FF157067C2F7}"/>
          </ac:spMkLst>
        </pc:spChg>
        <pc:spChg chg="add del mod">
          <ac:chgData name="Stina Torell" userId="42ae74f8-9b92-4847-96bc-2e51e5bf7907" providerId="ADAL" clId="{8222E77C-B75B-4648-AAD8-E34B669EE4DB}" dt="2022-04-11T16:21:49.437" v="5433" actId="478"/>
          <ac:spMkLst>
            <pc:docMk/>
            <pc:sldMk cId="3889080991" sldId="2687"/>
            <ac:spMk id="98" creationId="{5495A0E2-39D9-4541-8E36-1641CF2EE592}"/>
          </ac:spMkLst>
        </pc:spChg>
        <pc:spChg chg="add del mod">
          <ac:chgData name="Stina Torell" userId="42ae74f8-9b92-4847-96bc-2e51e5bf7907" providerId="ADAL" clId="{8222E77C-B75B-4648-AAD8-E34B669EE4DB}" dt="2022-04-14T09:41:38.025" v="8567" actId="20577"/>
          <ac:spMkLst>
            <pc:docMk/>
            <pc:sldMk cId="3889080991" sldId="2687"/>
            <ac:spMk id="99" creationId="{09C4996B-7156-A24C-AC4E-B84C944612F3}"/>
          </ac:spMkLst>
        </pc:spChg>
        <pc:spChg chg="add del mod">
          <ac:chgData name="Stina Torell" userId="42ae74f8-9b92-4847-96bc-2e51e5bf7907" providerId="ADAL" clId="{8222E77C-B75B-4648-AAD8-E34B669EE4DB}" dt="2022-04-11T16:21:51.873" v="5434" actId="478"/>
          <ac:spMkLst>
            <pc:docMk/>
            <pc:sldMk cId="3889080991" sldId="2687"/>
            <ac:spMk id="100" creationId="{DFF22CE5-9110-5E45-9167-A6336A7900A3}"/>
          </ac:spMkLst>
        </pc:spChg>
        <pc:spChg chg="mod">
          <ac:chgData name="Stina Torell" userId="42ae74f8-9b92-4847-96bc-2e51e5bf7907" providerId="ADAL" clId="{8222E77C-B75B-4648-AAD8-E34B669EE4DB}" dt="2022-04-11T15:53:14.589" v="4915" actId="1036"/>
          <ac:spMkLst>
            <pc:docMk/>
            <pc:sldMk cId="3889080991" sldId="2687"/>
            <ac:spMk id="101" creationId="{C73F5917-97F1-2449-95B5-1CB9B073B6FA}"/>
          </ac:spMkLst>
        </pc:spChg>
        <pc:spChg chg="add del mod">
          <ac:chgData name="Stina Torell" userId="42ae74f8-9b92-4847-96bc-2e51e5bf7907" providerId="ADAL" clId="{8222E77C-B75B-4648-AAD8-E34B669EE4DB}" dt="2022-04-11T16:21:53.397" v="5435" actId="478"/>
          <ac:spMkLst>
            <pc:docMk/>
            <pc:sldMk cId="3889080991" sldId="2687"/>
            <ac:spMk id="102" creationId="{E93D24FE-5F7F-0A47-82AE-50B2793991A0}"/>
          </ac:spMkLst>
        </pc:spChg>
        <pc:spChg chg="add del mod">
          <ac:chgData name="Stina Torell" userId="42ae74f8-9b92-4847-96bc-2e51e5bf7907" providerId="ADAL" clId="{8222E77C-B75B-4648-AAD8-E34B669EE4DB}" dt="2022-04-11T16:13:15.272" v="5231" actId="478"/>
          <ac:spMkLst>
            <pc:docMk/>
            <pc:sldMk cId="3889080991" sldId="2687"/>
            <ac:spMk id="103" creationId="{20A08EF2-72AA-3544-9B5C-CD319BF5D712}"/>
          </ac:spMkLst>
        </pc:spChg>
        <pc:spChg chg="add mod">
          <ac:chgData name="Stina Torell" userId="42ae74f8-9b92-4847-96bc-2e51e5bf7907" providerId="ADAL" clId="{8222E77C-B75B-4648-AAD8-E34B669EE4DB}" dt="2022-04-11T16:14:17.025" v="5254" actId="14100"/>
          <ac:spMkLst>
            <pc:docMk/>
            <pc:sldMk cId="3889080991" sldId="2687"/>
            <ac:spMk id="104" creationId="{CE7DB774-FC12-9B40-89B1-5A4852D61CD1}"/>
          </ac:spMkLst>
        </pc:spChg>
        <pc:spChg chg="add mod">
          <ac:chgData name="Stina Torell" userId="42ae74f8-9b92-4847-96bc-2e51e5bf7907" providerId="ADAL" clId="{8222E77C-B75B-4648-AAD8-E34B669EE4DB}" dt="2022-04-26T14:57:58.533" v="11473" actId="207"/>
          <ac:spMkLst>
            <pc:docMk/>
            <pc:sldMk cId="3889080991" sldId="2687"/>
            <ac:spMk id="105" creationId="{EFA99162-B5B0-F84D-BBC7-5853C015D1D1}"/>
          </ac:spMkLst>
        </pc:spChg>
        <pc:spChg chg="add mod">
          <ac:chgData name="Stina Torell" userId="42ae74f8-9b92-4847-96bc-2e51e5bf7907" providerId="ADAL" clId="{8222E77C-B75B-4648-AAD8-E34B669EE4DB}" dt="2022-04-11T16:16:42.729" v="5311" actId="167"/>
          <ac:spMkLst>
            <pc:docMk/>
            <pc:sldMk cId="3889080991" sldId="2687"/>
            <ac:spMk id="106" creationId="{873CF626-D327-6841-8FB1-95DE7D287F71}"/>
          </ac:spMkLst>
        </pc:spChg>
        <pc:spChg chg="add mod">
          <ac:chgData name="Stina Torell" userId="42ae74f8-9b92-4847-96bc-2e51e5bf7907" providerId="ADAL" clId="{8222E77C-B75B-4648-AAD8-E34B669EE4DB}" dt="2022-04-11T16:16:20.107" v="5305" actId="167"/>
          <ac:spMkLst>
            <pc:docMk/>
            <pc:sldMk cId="3889080991" sldId="2687"/>
            <ac:spMk id="107" creationId="{94DC1C64-3DA8-9247-90C1-B4893E649808}"/>
          </ac:spMkLst>
        </pc:spChg>
        <pc:spChg chg="add mod">
          <ac:chgData name="Stina Torell" userId="42ae74f8-9b92-4847-96bc-2e51e5bf7907" providerId="ADAL" clId="{8222E77C-B75B-4648-AAD8-E34B669EE4DB}" dt="2022-04-11T16:18:56.430" v="5381" actId="1076"/>
          <ac:spMkLst>
            <pc:docMk/>
            <pc:sldMk cId="3889080991" sldId="2687"/>
            <ac:spMk id="108" creationId="{B79D61ED-53F8-7940-A853-0D21F414A5D8}"/>
          </ac:spMkLst>
        </pc:spChg>
        <pc:spChg chg="add mod">
          <ac:chgData name="Stina Torell" userId="42ae74f8-9b92-4847-96bc-2e51e5bf7907" providerId="ADAL" clId="{8222E77C-B75B-4648-AAD8-E34B669EE4DB}" dt="2022-04-11T16:19:31.836" v="5388" actId="167"/>
          <ac:spMkLst>
            <pc:docMk/>
            <pc:sldMk cId="3889080991" sldId="2687"/>
            <ac:spMk id="109" creationId="{F2CE9602-AC09-664B-BE4E-33526DD1B733}"/>
          </ac:spMkLst>
        </pc:spChg>
        <pc:spChg chg="add mod">
          <ac:chgData name="Stina Torell" userId="42ae74f8-9b92-4847-96bc-2e51e5bf7907" providerId="ADAL" clId="{8222E77C-B75B-4648-AAD8-E34B669EE4DB}" dt="2022-04-11T16:19:57.849" v="5395" actId="167"/>
          <ac:spMkLst>
            <pc:docMk/>
            <pc:sldMk cId="3889080991" sldId="2687"/>
            <ac:spMk id="110" creationId="{F1128E8A-1BD7-4241-87F6-09792AF51EB6}"/>
          </ac:spMkLst>
        </pc:spChg>
        <pc:spChg chg="add mod">
          <ac:chgData name="Stina Torell" userId="42ae74f8-9b92-4847-96bc-2e51e5bf7907" providerId="ADAL" clId="{8222E77C-B75B-4648-AAD8-E34B669EE4DB}" dt="2022-04-26T14:57:58.533" v="11473" actId="207"/>
          <ac:spMkLst>
            <pc:docMk/>
            <pc:sldMk cId="3889080991" sldId="2687"/>
            <ac:spMk id="111" creationId="{83A5D7E2-F194-8641-BF37-440A5873B6C9}"/>
          </ac:spMkLst>
        </pc:spChg>
        <pc:spChg chg="add mod">
          <ac:chgData name="Stina Torell" userId="42ae74f8-9b92-4847-96bc-2e51e5bf7907" providerId="ADAL" clId="{8222E77C-B75B-4648-AAD8-E34B669EE4DB}" dt="2022-04-26T14:57:58.533" v="11473" actId="207"/>
          <ac:spMkLst>
            <pc:docMk/>
            <pc:sldMk cId="3889080991" sldId="2687"/>
            <ac:spMk id="112" creationId="{EBC5AC3C-5549-5041-9BD2-9DB97D81E52F}"/>
          </ac:spMkLst>
        </pc:spChg>
        <pc:spChg chg="add mod">
          <ac:chgData name="Stina Torell" userId="42ae74f8-9b92-4847-96bc-2e51e5bf7907" providerId="ADAL" clId="{8222E77C-B75B-4648-AAD8-E34B669EE4DB}" dt="2022-04-26T14:57:58.533" v="11473" actId="207"/>
          <ac:spMkLst>
            <pc:docMk/>
            <pc:sldMk cId="3889080991" sldId="2687"/>
            <ac:spMk id="113" creationId="{59A18E52-1833-B145-84C6-2F0F8666E4DB}"/>
          </ac:spMkLst>
        </pc:spChg>
        <pc:spChg chg="add mod">
          <ac:chgData name="Stina Torell" userId="42ae74f8-9b92-4847-96bc-2e51e5bf7907" providerId="ADAL" clId="{8222E77C-B75B-4648-AAD8-E34B669EE4DB}" dt="2022-04-26T14:57:58.533" v="11473" actId="207"/>
          <ac:spMkLst>
            <pc:docMk/>
            <pc:sldMk cId="3889080991" sldId="2687"/>
            <ac:spMk id="114" creationId="{327F9D0B-09AC-724F-9C42-715FA91ABF16}"/>
          </ac:spMkLst>
        </pc:spChg>
        <pc:spChg chg="add mod">
          <ac:chgData name="Stina Torell" userId="42ae74f8-9b92-4847-96bc-2e51e5bf7907" providerId="ADAL" clId="{8222E77C-B75B-4648-AAD8-E34B669EE4DB}" dt="2022-04-26T14:57:58.533" v="11473" actId="207"/>
          <ac:spMkLst>
            <pc:docMk/>
            <pc:sldMk cId="3889080991" sldId="2687"/>
            <ac:spMk id="115" creationId="{A8F2504C-E303-3C42-8BA4-76632289D1FE}"/>
          </ac:spMkLst>
        </pc:spChg>
        <pc:spChg chg="add del mod">
          <ac:chgData name="Stina Torell" userId="42ae74f8-9b92-4847-96bc-2e51e5bf7907" providerId="ADAL" clId="{8222E77C-B75B-4648-AAD8-E34B669EE4DB}" dt="2022-04-11T19:46:05.982" v="5614" actId="478"/>
          <ac:spMkLst>
            <pc:docMk/>
            <pc:sldMk cId="3889080991" sldId="2687"/>
            <ac:spMk id="116" creationId="{33D012A7-8C12-0F43-8473-128C10D46E95}"/>
          </ac:spMkLst>
        </pc:spChg>
        <pc:spChg chg="add mod">
          <ac:chgData name="Stina Torell" userId="42ae74f8-9b92-4847-96bc-2e51e5bf7907" providerId="ADAL" clId="{8222E77C-B75B-4648-AAD8-E34B669EE4DB}" dt="2022-04-26T14:57:58.533" v="11473" actId="207"/>
          <ac:spMkLst>
            <pc:docMk/>
            <pc:sldMk cId="3889080991" sldId="2687"/>
            <ac:spMk id="117" creationId="{AB7AF5B9-684B-AF45-AAB1-6A3A918C239D}"/>
          </ac:spMkLst>
        </pc:spChg>
        <pc:spChg chg="add mod">
          <ac:chgData name="Stina Torell" userId="42ae74f8-9b92-4847-96bc-2e51e5bf7907" providerId="ADAL" clId="{8222E77C-B75B-4648-AAD8-E34B669EE4DB}" dt="2022-04-26T14:57:58.533" v="11473" actId="207"/>
          <ac:spMkLst>
            <pc:docMk/>
            <pc:sldMk cId="3889080991" sldId="2687"/>
            <ac:spMk id="118" creationId="{24688AF3-52E3-A043-950D-97FAEFFD5715}"/>
          </ac:spMkLst>
        </pc:spChg>
        <pc:spChg chg="add mod">
          <ac:chgData name="Stina Torell" userId="42ae74f8-9b92-4847-96bc-2e51e5bf7907" providerId="ADAL" clId="{8222E77C-B75B-4648-AAD8-E34B669EE4DB}" dt="2022-04-26T14:57:58.533" v="11473" actId="207"/>
          <ac:spMkLst>
            <pc:docMk/>
            <pc:sldMk cId="3889080991" sldId="2687"/>
            <ac:spMk id="119" creationId="{497FDDA0-0CAF-2747-856A-7315382D2022}"/>
          </ac:spMkLst>
        </pc:spChg>
        <pc:spChg chg="add mod">
          <ac:chgData name="Stina Torell" userId="42ae74f8-9b92-4847-96bc-2e51e5bf7907" providerId="ADAL" clId="{8222E77C-B75B-4648-AAD8-E34B669EE4DB}" dt="2022-04-26T14:57:58.533" v="11473" actId="207"/>
          <ac:spMkLst>
            <pc:docMk/>
            <pc:sldMk cId="3889080991" sldId="2687"/>
            <ac:spMk id="120" creationId="{07333F06-CA1E-354B-BF58-68978E1BABA4}"/>
          </ac:spMkLst>
        </pc:spChg>
        <pc:spChg chg="add mod">
          <ac:chgData name="Stina Torell" userId="42ae74f8-9b92-4847-96bc-2e51e5bf7907" providerId="ADAL" clId="{8222E77C-B75B-4648-AAD8-E34B669EE4DB}" dt="2022-04-11T16:22:23.783" v="5440" actId="207"/>
          <ac:spMkLst>
            <pc:docMk/>
            <pc:sldMk cId="3889080991" sldId="2687"/>
            <ac:spMk id="121" creationId="{7D9BCFB3-0E04-614D-894C-6809C6EB2658}"/>
          </ac:spMkLst>
        </pc:spChg>
        <pc:spChg chg="add mod">
          <ac:chgData name="Stina Torell" userId="42ae74f8-9b92-4847-96bc-2e51e5bf7907" providerId="ADAL" clId="{8222E77C-B75B-4648-AAD8-E34B669EE4DB}" dt="2022-04-11T16:22:04.625" v="5437" actId="1076"/>
          <ac:spMkLst>
            <pc:docMk/>
            <pc:sldMk cId="3889080991" sldId="2687"/>
            <ac:spMk id="122" creationId="{80F6E6EB-417C-B640-9A53-5EE8BFD83FB1}"/>
          </ac:spMkLst>
        </pc:spChg>
        <pc:spChg chg="add mod">
          <ac:chgData name="Stina Torell" userId="42ae74f8-9b92-4847-96bc-2e51e5bf7907" providerId="ADAL" clId="{8222E77C-B75B-4648-AAD8-E34B669EE4DB}" dt="2022-04-11T16:22:23.783" v="5440" actId="207"/>
          <ac:spMkLst>
            <pc:docMk/>
            <pc:sldMk cId="3889080991" sldId="2687"/>
            <ac:spMk id="123" creationId="{EDE515C0-7453-644C-8205-1474BD4D91DD}"/>
          </ac:spMkLst>
        </pc:spChg>
        <pc:spChg chg="add mod">
          <ac:chgData name="Stina Torell" userId="42ae74f8-9b92-4847-96bc-2e51e5bf7907" providerId="ADAL" clId="{8222E77C-B75B-4648-AAD8-E34B669EE4DB}" dt="2022-04-11T16:22:13.225" v="5439" actId="1076"/>
          <ac:spMkLst>
            <pc:docMk/>
            <pc:sldMk cId="3889080991" sldId="2687"/>
            <ac:spMk id="124" creationId="{84A98CBE-05CE-424F-A2AB-93280BB5CC1B}"/>
          </ac:spMkLst>
        </pc:spChg>
        <pc:spChg chg="add del mod">
          <ac:chgData name="Stina Torell" userId="42ae74f8-9b92-4847-96bc-2e51e5bf7907" providerId="ADAL" clId="{8222E77C-B75B-4648-AAD8-E34B669EE4DB}" dt="2022-04-11T16:22:38.983" v="5442"/>
          <ac:spMkLst>
            <pc:docMk/>
            <pc:sldMk cId="3889080991" sldId="2687"/>
            <ac:spMk id="125" creationId="{96476EA2-52B7-CF40-8729-93D6C3FBF02D}"/>
          </ac:spMkLst>
        </pc:spChg>
        <pc:spChg chg="add del mod">
          <ac:chgData name="Stina Torell" userId="42ae74f8-9b92-4847-96bc-2e51e5bf7907" providerId="ADAL" clId="{8222E77C-B75B-4648-AAD8-E34B669EE4DB}" dt="2022-04-11T16:22:38.983" v="5442"/>
          <ac:spMkLst>
            <pc:docMk/>
            <pc:sldMk cId="3889080991" sldId="2687"/>
            <ac:spMk id="126" creationId="{AC17B464-BA29-3741-BF19-7BB72BB0BEE6}"/>
          </ac:spMkLst>
        </pc:spChg>
        <pc:spChg chg="add mod">
          <ac:chgData name="Stina Torell" userId="42ae74f8-9b92-4847-96bc-2e51e5bf7907" providerId="ADAL" clId="{8222E77C-B75B-4648-AAD8-E34B669EE4DB}" dt="2022-04-11T16:23:23.747" v="5452" actId="167"/>
          <ac:spMkLst>
            <pc:docMk/>
            <pc:sldMk cId="3889080991" sldId="2687"/>
            <ac:spMk id="127" creationId="{8AED41DB-246A-634F-8C76-373EDFF412F1}"/>
          </ac:spMkLst>
        </pc:spChg>
        <pc:spChg chg="add mod">
          <ac:chgData name="Stina Torell" userId="42ae74f8-9b92-4847-96bc-2e51e5bf7907" providerId="ADAL" clId="{8222E77C-B75B-4648-AAD8-E34B669EE4DB}" dt="2022-04-11T16:23:19.548" v="5451" actId="167"/>
          <ac:spMkLst>
            <pc:docMk/>
            <pc:sldMk cId="3889080991" sldId="2687"/>
            <ac:spMk id="128" creationId="{3F70037B-679A-7844-BFD8-F11EED0FE51D}"/>
          </ac:spMkLst>
        </pc:spChg>
        <pc:spChg chg="add del mod">
          <ac:chgData name="Stina Torell" userId="42ae74f8-9b92-4847-96bc-2e51e5bf7907" providerId="ADAL" clId="{8222E77C-B75B-4648-AAD8-E34B669EE4DB}" dt="2022-04-11T16:25:03.976" v="5473"/>
          <ac:spMkLst>
            <pc:docMk/>
            <pc:sldMk cId="3889080991" sldId="2687"/>
            <ac:spMk id="129" creationId="{5568043B-A1F1-D141-8B8A-44F50099AD17}"/>
          </ac:spMkLst>
        </pc:spChg>
        <pc:spChg chg="add mod">
          <ac:chgData name="Stina Torell" userId="42ae74f8-9b92-4847-96bc-2e51e5bf7907" providerId="ADAL" clId="{8222E77C-B75B-4648-AAD8-E34B669EE4DB}" dt="2022-04-26T15:01:08.041" v="11492" actId="1038"/>
          <ac:spMkLst>
            <pc:docMk/>
            <pc:sldMk cId="3889080991" sldId="2687"/>
            <ac:spMk id="130" creationId="{0F64B0DA-2E3C-A649-9EDE-D70D24FAB909}"/>
          </ac:spMkLst>
        </pc:spChg>
        <pc:spChg chg="add del mod">
          <ac:chgData name="Stina Torell" userId="42ae74f8-9b92-4847-96bc-2e51e5bf7907" providerId="ADAL" clId="{8222E77C-B75B-4648-AAD8-E34B669EE4DB}" dt="2022-04-11T16:27:25.086" v="5552"/>
          <ac:spMkLst>
            <pc:docMk/>
            <pc:sldMk cId="3889080991" sldId="2687"/>
            <ac:spMk id="131" creationId="{FED39618-638F-3B4C-8C3A-03CB3AE2D434}"/>
          </ac:spMkLst>
        </pc:spChg>
        <pc:spChg chg="add del mod">
          <ac:chgData name="Stina Torell" userId="42ae74f8-9b92-4847-96bc-2e51e5bf7907" providerId="ADAL" clId="{8222E77C-B75B-4648-AAD8-E34B669EE4DB}" dt="2022-04-11T16:27:25.086" v="5552"/>
          <ac:spMkLst>
            <pc:docMk/>
            <pc:sldMk cId="3889080991" sldId="2687"/>
            <ac:spMk id="132" creationId="{27D7B07C-3504-EB4D-B041-259062F19798}"/>
          </ac:spMkLst>
        </pc:spChg>
        <pc:spChg chg="add del mod">
          <ac:chgData name="Stina Torell" userId="42ae74f8-9b92-4847-96bc-2e51e5bf7907" providerId="ADAL" clId="{8222E77C-B75B-4648-AAD8-E34B669EE4DB}" dt="2022-04-11T16:27:25.086" v="5552"/>
          <ac:spMkLst>
            <pc:docMk/>
            <pc:sldMk cId="3889080991" sldId="2687"/>
            <ac:spMk id="133" creationId="{B5B4B92F-8C37-6745-9561-0D536E137C08}"/>
          </ac:spMkLst>
        </pc:spChg>
        <pc:spChg chg="add del mod">
          <ac:chgData name="Stina Torell" userId="42ae74f8-9b92-4847-96bc-2e51e5bf7907" providerId="ADAL" clId="{8222E77C-B75B-4648-AAD8-E34B669EE4DB}" dt="2022-04-11T16:27:25.086" v="5552"/>
          <ac:spMkLst>
            <pc:docMk/>
            <pc:sldMk cId="3889080991" sldId="2687"/>
            <ac:spMk id="134" creationId="{27F7033F-7E4D-0C40-BE8D-BD1A423D21BE}"/>
          </ac:spMkLst>
        </pc:spChg>
        <pc:spChg chg="add mod">
          <ac:chgData name="Stina Torell" userId="42ae74f8-9b92-4847-96bc-2e51e5bf7907" providerId="ADAL" clId="{8222E77C-B75B-4648-AAD8-E34B669EE4DB}" dt="2022-04-11T16:28:21.137" v="5581" actId="207"/>
          <ac:spMkLst>
            <pc:docMk/>
            <pc:sldMk cId="3889080991" sldId="2687"/>
            <ac:spMk id="135" creationId="{C17445FE-0C63-B34C-821A-8CE56C845B57}"/>
          </ac:spMkLst>
        </pc:spChg>
        <pc:spChg chg="add mod">
          <ac:chgData name="Stina Torell" userId="42ae74f8-9b92-4847-96bc-2e51e5bf7907" providerId="ADAL" clId="{8222E77C-B75B-4648-AAD8-E34B669EE4DB}" dt="2022-04-11T16:28:21.137" v="5581" actId="207"/>
          <ac:spMkLst>
            <pc:docMk/>
            <pc:sldMk cId="3889080991" sldId="2687"/>
            <ac:spMk id="136" creationId="{4F93D72A-78B2-C348-8F6F-B93DE7479C02}"/>
          </ac:spMkLst>
        </pc:spChg>
        <pc:spChg chg="add mod">
          <ac:chgData name="Stina Torell" userId="42ae74f8-9b92-4847-96bc-2e51e5bf7907" providerId="ADAL" clId="{8222E77C-B75B-4648-AAD8-E34B669EE4DB}" dt="2022-04-26T15:01:08.041" v="11492" actId="1038"/>
          <ac:spMkLst>
            <pc:docMk/>
            <pc:sldMk cId="3889080991" sldId="2687"/>
            <ac:spMk id="137" creationId="{0949272B-A121-9640-83DD-2DF2C80CFC1A}"/>
          </ac:spMkLst>
        </pc:spChg>
        <pc:spChg chg="add del mod">
          <ac:chgData name="Stina Torell" userId="42ae74f8-9b92-4847-96bc-2e51e5bf7907" providerId="ADAL" clId="{8222E77C-B75B-4648-AAD8-E34B669EE4DB}" dt="2022-04-11T16:29:33.536" v="5587" actId="478"/>
          <ac:spMkLst>
            <pc:docMk/>
            <pc:sldMk cId="3889080991" sldId="2687"/>
            <ac:spMk id="138" creationId="{731AD2AD-79A4-0448-8550-FFC5FA5FAC1A}"/>
          </ac:spMkLst>
        </pc:spChg>
        <pc:spChg chg="add mod">
          <ac:chgData name="Stina Torell" userId="42ae74f8-9b92-4847-96bc-2e51e5bf7907" providerId="ADAL" clId="{8222E77C-B75B-4648-AAD8-E34B669EE4DB}" dt="2022-04-26T14:57:58.533" v="11473" actId="207"/>
          <ac:spMkLst>
            <pc:docMk/>
            <pc:sldMk cId="3889080991" sldId="2687"/>
            <ac:spMk id="139" creationId="{158CC1F2-478D-2047-85E1-F9F8CE3B8AB7}"/>
          </ac:spMkLst>
        </pc:spChg>
        <pc:spChg chg="add del mod">
          <ac:chgData name="Stina Torell" userId="42ae74f8-9b92-4847-96bc-2e51e5bf7907" providerId="ADAL" clId="{8222E77C-B75B-4648-AAD8-E34B669EE4DB}" dt="2022-04-14T09:40:37.737" v="8549" actId="478"/>
          <ac:spMkLst>
            <pc:docMk/>
            <pc:sldMk cId="3889080991" sldId="2687"/>
            <ac:spMk id="140" creationId="{53AD6AC8-EE46-014E-A126-5CCEDF8EDFE9}"/>
          </ac:spMkLst>
        </pc:spChg>
        <pc:spChg chg="add del mod">
          <ac:chgData name="Stina Torell" userId="42ae74f8-9b92-4847-96bc-2e51e5bf7907" providerId="ADAL" clId="{8222E77C-B75B-4648-AAD8-E34B669EE4DB}" dt="2022-04-14T09:39:07.381" v="8535" actId="478"/>
          <ac:spMkLst>
            <pc:docMk/>
            <pc:sldMk cId="3889080991" sldId="2687"/>
            <ac:spMk id="141" creationId="{E84EA031-38A4-C141-AD1F-DA2F433050BB}"/>
          </ac:spMkLst>
        </pc:spChg>
        <pc:spChg chg="add del mod">
          <ac:chgData name="Stina Torell" userId="42ae74f8-9b92-4847-96bc-2e51e5bf7907" providerId="ADAL" clId="{8222E77C-B75B-4648-AAD8-E34B669EE4DB}" dt="2022-04-14T09:38:41.163" v="8530" actId="478"/>
          <ac:spMkLst>
            <pc:docMk/>
            <pc:sldMk cId="3889080991" sldId="2687"/>
            <ac:spMk id="142" creationId="{613DF138-A30C-EE4A-8432-C4094A4AB897}"/>
          </ac:spMkLst>
        </pc:spChg>
        <pc:spChg chg="add del mod">
          <ac:chgData name="Stina Torell" userId="42ae74f8-9b92-4847-96bc-2e51e5bf7907" providerId="ADAL" clId="{8222E77C-B75B-4648-AAD8-E34B669EE4DB}" dt="2022-04-11T19:49:56.331" v="5996"/>
          <ac:spMkLst>
            <pc:docMk/>
            <pc:sldMk cId="3889080991" sldId="2687"/>
            <ac:spMk id="143" creationId="{985E8C51-F95D-9947-BB06-D9C4BD977871}"/>
          </ac:spMkLst>
        </pc:spChg>
        <pc:spChg chg="add del mod">
          <ac:chgData name="Stina Torell" userId="42ae74f8-9b92-4847-96bc-2e51e5bf7907" providerId="ADAL" clId="{8222E77C-B75B-4648-AAD8-E34B669EE4DB}" dt="2022-04-20T07:58:41.473" v="9454" actId="478"/>
          <ac:spMkLst>
            <pc:docMk/>
            <pc:sldMk cId="3889080991" sldId="2687"/>
            <ac:spMk id="144" creationId="{A183C12C-B3EC-F54C-8267-C62A026BC8AC}"/>
          </ac:spMkLst>
        </pc:spChg>
        <pc:spChg chg="mod">
          <ac:chgData name="Stina Torell" userId="42ae74f8-9b92-4847-96bc-2e51e5bf7907" providerId="ADAL" clId="{8222E77C-B75B-4648-AAD8-E34B669EE4DB}" dt="2022-04-14T09:41:26.082" v="8557" actId="20577"/>
          <ac:spMkLst>
            <pc:docMk/>
            <pc:sldMk cId="3889080991" sldId="2687"/>
            <ac:spMk id="166" creationId="{216BBC56-9C4E-0342-8FCA-23C44A6C24B4}"/>
          </ac:spMkLst>
        </pc:spChg>
        <pc:spChg chg="mod">
          <ac:chgData name="Stina Torell" userId="42ae74f8-9b92-4847-96bc-2e51e5bf7907" providerId="ADAL" clId="{8222E77C-B75B-4648-AAD8-E34B669EE4DB}" dt="2022-04-14T09:41:31.276" v="8562" actId="20577"/>
          <ac:spMkLst>
            <pc:docMk/>
            <pc:sldMk cId="3889080991" sldId="2687"/>
            <ac:spMk id="175" creationId="{D8325302-6D0F-734D-9AF4-84330BBC9230}"/>
          </ac:spMkLst>
        </pc:spChg>
        <pc:spChg chg="mod">
          <ac:chgData name="Stina Torell" userId="42ae74f8-9b92-4847-96bc-2e51e5bf7907" providerId="ADAL" clId="{8222E77C-B75B-4648-AAD8-E34B669EE4DB}" dt="2022-04-14T09:41:44.188" v="8571" actId="20577"/>
          <ac:spMkLst>
            <pc:docMk/>
            <pc:sldMk cId="3889080991" sldId="2687"/>
            <ac:spMk id="1034" creationId="{54434AAA-DC1B-5045-8DF6-6569C0033177}"/>
          </ac:spMkLst>
        </pc:spChg>
        <pc:spChg chg="del mod">
          <ac:chgData name="Stina Torell" userId="42ae74f8-9b92-4847-96bc-2e51e5bf7907" providerId="ADAL" clId="{8222E77C-B75B-4648-AAD8-E34B669EE4DB}" dt="2022-04-11T14:53:24.051" v="4590" actId="478"/>
          <ac:spMkLst>
            <pc:docMk/>
            <pc:sldMk cId="3889080991" sldId="2687"/>
            <ac:spMk id="1044" creationId="{99628117-7F07-564A-AF25-A801AED86515}"/>
          </ac:spMkLst>
        </pc:spChg>
        <pc:spChg chg="del">
          <ac:chgData name="Stina Torell" userId="42ae74f8-9b92-4847-96bc-2e51e5bf7907" providerId="ADAL" clId="{8222E77C-B75B-4648-AAD8-E34B669EE4DB}" dt="2022-04-11T15:58:08.564" v="4972" actId="478"/>
          <ac:spMkLst>
            <pc:docMk/>
            <pc:sldMk cId="3889080991" sldId="2687"/>
            <ac:spMk id="1056" creationId="{03D9E667-4374-BF4D-B6EF-2038C833A13C}"/>
          </ac:spMkLst>
        </pc:spChg>
        <pc:spChg chg="mod">
          <ac:chgData name="Stina Torell" userId="42ae74f8-9b92-4847-96bc-2e51e5bf7907" providerId="ADAL" clId="{8222E77C-B75B-4648-AAD8-E34B669EE4DB}" dt="2022-04-11T16:24:34.427" v="5467" actId="790"/>
          <ac:spMkLst>
            <pc:docMk/>
            <pc:sldMk cId="3889080991" sldId="2687"/>
            <ac:spMk id="1058" creationId="{72A11031-91A3-114D-A35C-ADA47C0A6E7C}"/>
          </ac:spMkLst>
        </pc:spChg>
        <pc:spChg chg="mod">
          <ac:chgData name="Stina Torell" userId="42ae74f8-9b92-4847-96bc-2e51e5bf7907" providerId="ADAL" clId="{8222E77C-B75B-4648-AAD8-E34B669EE4DB}" dt="2022-04-11T16:13:40.754" v="5245" actId="1038"/>
          <ac:spMkLst>
            <pc:docMk/>
            <pc:sldMk cId="3889080991" sldId="2687"/>
            <ac:spMk id="1061" creationId="{49954F71-D706-9942-B3C1-E8E1AED7B24E}"/>
          </ac:spMkLst>
        </pc:spChg>
        <pc:picChg chg="del mod">
          <ac:chgData name="Stina Torell" userId="42ae74f8-9b92-4847-96bc-2e51e5bf7907" providerId="ADAL" clId="{8222E77C-B75B-4648-AAD8-E34B669EE4DB}" dt="2022-04-11T14:44:35.570" v="4282" actId="478"/>
          <ac:picMkLst>
            <pc:docMk/>
            <pc:sldMk cId="3889080991" sldId="2687"/>
            <ac:picMk id="24" creationId="{D206C55D-90F2-AD4A-852D-7F938DF2488E}"/>
          </ac:picMkLst>
        </pc:picChg>
        <pc:picChg chg="del mod">
          <ac:chgData name="Stina Torell" userId="42ae74f8-9b92-4847-96bc-2e51e5bf7907" providerId="ADAL" clId="{8222E77C-B75B-4648-AAD8-E34B669EE4DB}" dt="2022-04-11T14:47:00.664" v="4321" actId="478"/>
          <ac:picMkLst>
            <pc:docMk/>
            <pc:sldMk cId="3889080991" sldId="2687"/>
            <ac:picMk id="26" creationId="{0BBAF606-2E4F-2040-9BC4-E537871C98DA}"/>
          </ac:picMkLst>
        </pc:picChg>
        <pc:cxnChg chg="del mod">
          <ac:chgData name="Stina Torell" userId="42ae74f8-9b92-4847-96bc-2e51e5bf7907" providerId="ADAL" clId="{8222E77C-B75B-4648-AAD8-E34B669EE4DB}" dt="2022-04-05T09:46:59.955" v="2126" actId="478"/>
          <ac:cxnSpMkLst>
            <pc:docMk/>
            <pc:sldMk cId="3889080991" sldId="2687"/>
            <ac:cxnSpMk id="28" creationId="{B566D6A6-DE76-E940-A1E9-13248014F781}"/>
          </ac:cxnSpMkLst>
        </pc:cxnChg>
        <pc:cxnChg chg="del mod">
          <ac:chgData name="Stina Torell" userId="42ae74f8-9b92-4847-96bc-2e51e5bf7907" providerId="ADAL" clId="{8222E77C-B75B-4648-AAD8-E34B669EE4DB}" dt="2022-04-05T09:47:02.295" v="2127" actId="478"/>
          <ac:cxnSpMkLst>
            <pc:docMk/>
            <pc:sldMk cId="3889080991" sldId="2687"/>
            <ac:cxnSpMk id="44" creationId="{3DF23200-9E4B-5746-A25B-DA4C7E5EDDBA}"/>
          </ac:cxnSpMkLst>
        </pc:cxnChg>
        <pc:cxnChg chg="del mod">
          <ac:chgData name="Stina Torell" userId="42ae74f8-9b92-4847-96bc-2e51e5bf7907" providerId="ADAL" clId="{8222E77C-B75B-4648-AAD8-E34B669EE4DB}" dt="2022-04-05T09:47:10.876" v="2133" actId="478"/>
          <ac:cxnSpMkLst>
            <pc:docMk/>
            <pc:sldMk cId="3889080991" sldId="2687"/>
            <ac:cxnSpMk id="82" creationId="{D9385769-8088-C14F-8F52-EB7DB85DBBB8}"/>
          </ac:cxnSpMkLst>
        </pc:cxnChg>
        <pc:cxnChg chg="del">
          <ac:chgData name="Stina Torell" userId="42ae74f8-9b92-4847-96bc-2e51e5bf7907" providerId="ADAL" clId="{8222E77C-B75B-4648-AAD8-E34B669EE4DB}" dt="2022-04-05T09:47:09.646" v="2132" actId="478"/>
          <ac:cxnSpMkLst>
            <pc:docMk/>
            <pc:sldMk cId="3889080991" sldId="2687"/>
            <ac:cxnSpMk id="83" creationId="{4D7C5E1B-43A4-E842-9833-894FE264ADE7}"/>
          </ac:cxnSpMkLst>
        </pc:cxnChg>
        <pc:cxnChg chg="del">
          <ac:chgData name="Stina Torell" userId="42ae74f8-9b92-4847-96bc-2e51e5bf7907" providerId="ADAL" clId="{8222E77C-B75B-4648-AAD8-E34B669EE4DB}" dt="2022-04-05T09:47:08.122" v="2131" actId="478"/>
          <ac:cxnSpMkLst>
            <pc:docMk/>
            <pc:sldMk cId="3889080991" sldId="2687"/>
            <ac:cxnSpMk id="119" creationId="{0792F2EB-9B6D-554C-9248-DCBBE6DC2902}"/>
          </ac:cxnSpMkLst>
        </pc:cxnChg>
        <pc:cxnChg chg="del mod">
          <ac:chgData name="Stina Torell" userId="42ae74f8-9b92-4847-96bc-2e51e5bf7907" providerId="ADAL" clId="{8222E77C-B75B-4648-AAD8-E34B669EE4DB}" dt="2022-04-05T09:46:57.382" v="2125" actId="478"/>
          <ac:cxnSpMkLst>
            <pc:docMk/>
            <pc:sldMk cId="3889080991" sldId="2687"/>
            <ac:cxnSpMk id="128" creationId="{0D4292AA-30C3-AD43-8360-9238C5A30A7A}"/>
          </ac:cxnSpMkLst>
        </pc:cxnChg>
        <pc:cxnChg chg="del">
          <ac:chgData name="Stina Torell" userId="42ae74f8-9b92-4847-96bc-2e51e5bf7907" providerId="ADAL" clId="{8222E77C-B75B-4648-AAD8-E34B669EE4DB}" dt="2022-04-05T09:47:06.579" v="2130" actId="478"/>
          <ac:cxnSpMkLst>
            <pc:docMk/>
            <pc:sldMk cId="3889080991" sldId="2687"/>
            <ac:cxnSpMk id="146" creationId="{C82F91D1-BBA9-424D-A554-625301F86466}"/>
          </ac:cxnSpMkLst>
        </pc:cxnChg>
        <pc:cxnChg chg="del mod">
          <ac:chgData name="Stina Torell" userId="42ae74f8-9b92-4847-96bc-2e51e5bf7907" providerId="ADAL" clId="{8222E77C-B75B-4648-AAD8-E34B669EE4DB}" dt="2022-04-05T09:47:12.510" v="2134" actId="478"/>
          <ac:cxnSpMkLst>
            <pc:docMk/>
            <pc:sldMk cId="3889080991" sldId="2687"/>
            <ac:cxnSpMk id="1039" creationId="{7F76CA19-74D1-5047-8CA3-5D41EC193416}"/>
          </ac:cxnSpMkLst>
        </pc:cxnChg>
      </pc:sldChg>
      <pc:sldChg chg="add del">
        <pc:chgData name="Stina Torell" userId="42ae74f8-9b92-4847-96bc-2e51e5bf7907" providerId="ADAL" clId="{8222E77C-B75B-4648-AAD8-E34B669EE4DB}" dt="2022-04-26T06:59:54.838" v="11422" actId="2696"/>
        <pc:sldMkLst>
          <pc:docMk/>
          <pc:sldMk cId="357762034" sldId="2688"/>
        </pc:sldMkLst>
      </pc:sldChg>
      <pc:sldChg chg="del mod modShow modCm">
        <pc:chgData name="Stina Torell" userId="42ae74f8-9b92-4847-96bc-2e51e5bf7907" providerId="ADAL" clId="{8222E77C-B75B-4648-AAD8-E34B669EE4DB}" dt="2022-04-11T20:07:48.707" v="6142" actId="2696"/>
        <pc:sldMkLst>
          <pc:docMk/>
          <pc:sldMk cId="2443848229" sldId="2688"/>
        </pc:sldMkLst>
      </pc:sldChg>
      <pc:sldChg chg="add del">
        <pc:chgData name="Stina Torell" userId="42ae74f8-9b92-4847-96bc-2e51e5bf7907" providerId="ADAL" clId="{8222E77C-B75B-4648-AAD8-E34B669EE4DB}" dt="2022-04-26T06:59:54.838" v="11422" actId="2696"/>
        <pc:sldMkLst>
          <pc:docMk/>
          <pc:sldMk cId="1961124209" sldId="2689"/>
        </pc:sldMkLst>
      </pc:sldChg>
      <pc:sldChg chg="del mod modShow">
        <pc:chgData name="Stina Torell" userId="42ae74f8-9b92-4847-96bc-2e51e5bf7907" providerId="ADAL" clId="{8222E77C-B75B-4648-AAD8-E34B669EE4DB}" dt="2022-04-11T20:07:48.707" v="6142" actId="2696"/>
        <pc:sldMkLst>
          <pc:docMk/>
          <pc:sldMk cId="3249972939" sldId="2689"/>
        </pc:sldMkLst>
      </pc:sldChg>
      <pc:sldChg chg="addSp delSp modSp new mod delCm chgLayout">
        <pc:chgData name="Stina Torell" userId="42ae74f8-9b92-4847-96bc-2e51e5bf7907" providerId="ADAL" clId="{8222E77C-B75B-4648-AAD8-E34B669EE4DB}" dt="2022-04-26T15:05:15.521" v="11549"/>
        <pc:sldMkLst>
          <pc:docMk/>
          <pc:sldMk cId="3300982436" sldId="2690"/>
        </pc:sldMkLst>
        <pc:spChg chg="mod ord">
          <ac:chgData name="Stina Torell" userId="42ae74f8-9b92-4847-96bc-2e51e5bf7907" providerId="ADAL" clId="{8222E77C-B75B-4648-AAD8-E34B669EE4DB}" dt="2022-04-14T10:31:08.498" v="9330" actId="1036"/>
          <ac:spMkLst>
            <pc:docMk/>
            <pc:sldMk cId="3300982436" sldId="2690"/>
            <ac:spMk id="2" creationId="{93C9A387-713D-5349-AB12-070760743D62}"/>
          </ac:spMkLst>
        </pc:spChg>
        <pc:spChg chg="add del">
          <ac:chgData name="Stina Torell" userId="42ae74f8-9b92-4847-96bc-2e51e5bf7907" providerId="ADAL" clId="{8222E77C-B75B-4648-AAD8-E34B669EE4DB}" dt="2022-04-11T19:57:21.555" v="6027" actId="478"/>
          <ac:spMkLst>
            <pc:docMk/>
            <pc:sldMk cId="3300982436" sldId="2690"/>
            <ac:spMk id="3" creationId="{65109584-32F5-C44F-BE88-50B48BC6671F}"/>
          </ac:spMkLst>
        </pc:spChg>
        <pc:spChg chg="del mod">
          <ac:chgData name="Stina Torell" userId="42ae74f8-9b92-4847-96bc-2e51e5bf7907" providerId="ADAL" clId="{8222E77C-B75B-4648-AAD8-E34B669EE4DB}" dt="2022-04-05T08:42:16.201" v="218" actId="478"/>
          <ac:spMkLst>
            <pc:docMk/>
            <pc:sldMk cId="3300982436" sldId="2690"/>
            <ac:spMk id="3" creationId="{A8606421-0D48-0B49-8AA3-802EDFFD6B52}"/>
          </ac:spMkLst>
        </pc:spChg>
        <pc:spChg chg="add del mod ord">
          <ac:chgData name="Stina Torell" userId="42ae74f8-9b92-4847-96bc-2e51e5bf7907" providerId="ADAL" clId="{8222E77C-B75B-4648-AAD8-E34B669EE4DB}" dt="2022-04-14T10:31:02.168" v="9326" actId="478"/>
          <ac:spMkLst>
            <pc:docMk/>
            <pc:sldMk cId="3300982436" sldId="2690"/>
            <ac:spMk id="3" creationId="{BBBEC138-2B74-C546-9D78-DD6B39E0EF0C}"/>
          </ac:spMkLst>
        </pc:spChg>
        <pc:spChg chg="add del mod">
          <ac:chgData name="Stina Torell" userId="42ae74f8-9b92-4847-96bc-2e51e5bf7907" providerId="ADAL" clId="{8222E77C-B75B-4648-AAD8-E34B669EE4DB}" dt="2022-04-11T14:38:45.270" v="4195" actId="478"/>
          <ac:spMkLst>
            <pc:docMk/>
            <pc:sldMk cId="3300982436" sldId="2690"/>
            <ac:spMk id="4" creationId="{A51D636F-8038-EF40-BB8B-78CE27DD949E}"/>
          </ac:spMkLst>
        </pc:spChg>
        <pc:spChg chg="add mod">
          <ac:chgData name="Stina Torell" userId="42ae74f8-9b92-4847-96bc-2e51e5bf7907" providerId="ADAL" clId="{8222E77C-B75B-4648-AAD8-E34B669EE4DB}" dt="2022-04-26T15:05:00.134" v="11548" actId="1038"/>
          <ac:spMkLst>
            <pc:docMk/>
            <pc:sldMk cId="3300982436" sldId="2690"/>
            <ac:spMk id="5" creationId="{33DA2841-3C2E-DF42-8883-5B9F1653B634}"/>
          </ac:spMkLst>
        </pc:spChg>
        <pc:spChg chg="add del mod">
          <ac:chgData name="Stina Torell" userId="42ae74f8-9b92-4847-96bc-2e51e5bf7907" providerId="ADAL" clId="{8222E77C-B75B-4648-AAD8-E34B669EE4DB}" dt="2022-04-05T08:51:45.747" v="503" actId="478"/>
          <ac:spMkLst>
            <pc:docMk/>
            <pc:sldMk cId="3300982436" sldId="2690"/>
            <ac:spMk id="6" creationId="{53B96B59-DAA8-084C-B6A8-7DA692A922F5}"/>
          </ac:spMkLst>
        </pc:spChg>
        <pc:spChg chg="add del mod">
          <ac:chgData name="Stina Torell" userId="42ae74f8-9b92-4847-96bc-2e51e5bf7907" providerId="ADAL" clId="{8222E77C-B75B-4648-AAD8-E34B669EE4DB}" dt="2022-04-11T20:05:52.841" v="6136" actId="478"/>
          <ac:spMkLst>
            <pc:docMk/>
            <pc:sldMk cId="3300982436" sldId="2690"/>
            <ac:spMk id="6" creationId="{AB72E4B9-E5FF-6748-BB91-E3C650B1F642}"/>
          </ac:spMkLst>
        </pc:spChg>
        <pc:spChg chg="add del mod">
          <ac:chgData name="Stina Torell" userId="42ae74f8-9b92-4847-96bc-2e51e5bf7907" providerId="ADAL" clId="{8222E77C-B75B-4648-AAD8-E34B669EE4DB}" dt="2022-04-26T15:05:00.134" v="11548" actId="1038"/>
          <ac:spMkLst>
            <pc:docMk/>
            <pc:sldMk cId="3300982436" sldId="2690"/>
            <ac:spMk id="7" creationId="{3E151FBA-F960-CC46-BD57-6939114843D4}"/>
          </ac:spMkLst>
        </pc:spChg>
        <pc:spChg chg="add del mod">
          <ac:chgData name="Stina Torell" userId="42ae74f8-9b92-4847-96bc-2e51e5bf7907" providerId="ADAL" clId="{8222E77C-B75B-4648-AAD8-E34B669EE4DB}" dt="2022-04-26T15:05:00.134" v="11548" actId="1038"/>
          <ac:spMkLst>
            <pc:docMk/>
            <pc:sldMk cId="3300982436" sldId="2690"/>
            <ac:spMk id="8" creationId="{2680690D-0EE0-4849-B7B5-2DE6C287AF54}"/>
          </ac:spMkLst>
        </pc:spChg>
        <pc:spChg chg="add del mod">
          <ac:chgData name="Stina Torell" userId="42ae74f8-9b92-4847-96bc-2e51e5bf7907" providerId="ADAL" clId="{8222E77C-B75B-4648-AAD8-E34B669EE4DB}" dt="2022-04-26T15:05:00.134" v="11548" actId="1038"/>
          <ac:spMkLst>
            <pc:docMk/>
            <pc:sldMk cId="3300982436" sldId="2690"/>
            <ac:spMk id="9" creationId="{DB43C97C-A729-8A41-950F-85102287641A}"/>
          </ac:spMkLst>
        </pc:spChg>
        <pc:spChg chg="add del mod">
          <ac:chgData name="Stina Torell" userId="42ae74f8-9b92-4847-96bc-2e51e5bf7907" providerId="ADAL" clId="{8222E77C-B75B-4648-AAD8-E34B669EE4DB}" dt="2022-04-26T15:05:00.134" v="11548" actId="1038"/>
          <ac:spMkLst>
            <pc:docMk/>
            <pc:sldMk cId="3300982436" sldId="2690"/>
            <ac:spMk id="10" creationId="{8451319F-5846-504C-8312-7D83E62919D9}"/>
          </ac:spMkLst>
        </pc:spChg>
        <pc:spChg chg="add del mod">
          <ac:chgData name="Stina Torell" userId="42ae74f8-9b92-4847-96bc-2e51e5bf7907" providerId="ADAL" clId="{8222E77C-B75B-4648-AAD8-E34B669EE4DB}" dt="2022-04-26T15:05:00.134" v="11548" actId="1038"/>
          <ac:spMkLst>
            <pc:docMk/>
            <pc:sldMk cId="3300982436" sldId="2690"/>
            <ac:spMk id="11" creationId="{60C1D415-CA33-5D4E-9D98-C616B66682FB}"/>
          </ac:spMkLst>
        </pc:spChg>
        <pc:spChg chg="add del mod">
          <ac:chgData name="Stina Torell" userId="42ae74f8-9b92-4847-96bc-2e51e5bf7907" providerId="ADAL" clId="{8222E77C-B75B-4648-AAD8-E34B669EE4DB}" dt="2022-04-26T15:05:00.134" v="11548" actId="1038"/>
          <ac:spMkLst>
            <pc:docMk/>
            <pc:sldMk cId="3300982436" sldId="2690"/>
            <ac:spMk id="12" creationId="{CA86CE77-89A6-CF41-8B4F-B75F3F020277}"/>
          </ac:spMkLst>
        </pc:spChg>
        <pc:spChg chg="add del mod">
          <ac:chgData name="Stina Torell" userId="42ae74f8-9b92-4847-96bc-2e51e5bf7907" providerId="ADAL" clId="{8222E77C-B75B-4648-AAD8-E34B669EE4DB}" dt="2022-04-26T15:05:00.134" v="11548" actId="1038"/>
          <ac:spMkLst>
            <pc:docMk/>
            <pc:sldMk cId="3300982436" sldId="2690"/>
            <ac:spMk id="13" creationId="{06222AF4-D078-4F46-B2D6-F55B2B278263}"/>
          </ac:spMkLst>
        </pc:spChg>
        <pc:spChg chg="add del mod">
          <ac:chgData name="Stina Torell" userId="42ae74f8-9b92-4847-96bc-2e51e5bf7907" providerId="ADAL" clId="{8222E77C-B75B-4648-AAD8-E34B669EE4DB}" dt="2022-04-26T15:05:00.134" v="11548" actId="1038"/>
          <ac:spMkLst>
            <pc:docMk/>
            <pc:sldMk cId="3300982436" sldId="2690"/>
            <ac:spMk id="14" creationId="{6C7B76A1-6B07-784F-9E76-572AD4176650}"/>
          </ac:spMkLst>
        </pc:spChg>
        <pc:spChg chg="add mod">
          <ac:chgData name="Stina Torell" userId="42ae74f8-9b92-4847-96bc-2e51e5bf7907" providerId="ADAL" clId="{8222E77C-B75B-4648-AAD8-E34B669EE4DB}" dt="2022-04-26T15:05:00.134" v="11548" actId="1038"/>
          <ac:spMkLst>
            <pc:docMk/>
            <pc:sldMk cId="3300982436" sldId="2690"/>
            <ac:spMk id="15" creationId="{45AB42D6-1212-9D42-A7BE-654BFA4B122B}"/>
          </ac:spMkLst>
        </pc:spChg>
        <pc:spChg chg="add mod">
          <ac:chgData name="Stina Torell" userId="42ae74f8-9b92-4847-96bc-2e51e5bf7907" providerId="ADAL" clId="{8222E77C-B75B-4648-AAD8-E34B669EE4DB}" dt="2022-04-26T15:05:00.134" v="11548" actId="1038"/>
          <ac:spMkLst>
            <pc:docMk/>
            <pc:sldMk cId="3300982436" sldId="2690"/>
            <ac:spMk id="16" creationId="{506743C5-B528-E545-B065-67D227B0BA6B}"/>
          </ac:spMkLst>
        </pc:spChg>
        <pc:spChg chg="add del mod">
          <ac:chgData name="Stina Torell" userId="42ae74f8-9b92-4847-96bc-2e51e5bf7907" providerId="ADAL" clId="{8222E77C-B75B-4648-AAD8-E34B669EE4DB}" dt="2022-04-11T14:25:52.305" v="4096" actId="478"/>
          <ac:spMkLst>
            <pc:docMk/>
            <pc:sldMk cId="3300982436" sldId="2690"/>
            <ac:spMk id="17" creationId="{DE6123B5-4254-0446-8402-25ACF99519A9}"/>
          </ac:spMkLst>
        </pc:spChg>
        <pc:spChg chg="add del mod">
          <ac:chgData name="Stina Torell" userId="42ae74f8-9b92-4847-96bc-2e51e5bf7907" providerId="ADAL" clId="{8222E77C-B75B-4648-AAD8-E34B669EE4DB}" dt="2022-04-05T09:39:55.707" v="2017" actId="478"/>
          <ac:spMkLst>
            <pc:docMk/>
            <pc:sldMk cId="3300982436" sldId="2690"/>
            <ac:spMk id="18" creationId="{0AB506CF-4B12-384F-A4D9-E6BFF16F4BBE}"/>
          </ac:spMkLst>
        </pc:spChg>
        <pc:spChg chg="add del">
          <ac:chgData name="Stina Torell" userId="42ae74f8-9b92-4847-96bc-2e51e5bf7907" providerId="ADAL" clId="{8222E77C-B75B-4648-AAD8-E34B669EE4DB}" dt="2022-04-05T08:59:10.924" v="862" actId="11529"/>
          <ac:spMkLst>
            <pc:docMk/>
            <pc:sldMk cId="3300982436" sldId="2690"/>
            <ac:spMk id="19" creationId="{43DDDF1C-145E-224C-9155-B11D18A124E2}"/>
          </ac:spMkLst>
        </pc:spChg>
        <pc:spChg chg="add mod">
          <ac:chgData name="Stina Torell" userId="42ae74f8-9b92-4847-96bc-2e51e5bf7907" providerId="ADAL" clId="{8222E77C-B75B-4648-AAD8-E34B669EE4DB}" dt="2022-04-26T15:05:00.134" v="11548" actId="1038"/>
          <ac:spMkLst>
            <pc:docMk/>
            <pc:sldMk cId="3300982436" sldId="2690"/>
            <ac:spMk id="20" creationId="{E87AFB51-2AD0-AA43-A13B-F90B17ECA3E8}"/>
          </ac:spMkLst>
        </pc:spChg>
        <pc:spChg chg="add mod">
          <ac:chgData name="Stina Torell" userId="42ae74f8-9b92-4847-96bc-2e51e5bf7907" providerId="ADAL" clId="{8222E77C-B75B-4648-AAD8-E34B669EE4DB}" dt="2022-04-26T15:05:00.134" v="11548" actId="1038"/>
          <ac:spMkLst>
            <pc:docMk/>
            <pc:sldMk cId="3300982436" sldId="2690"/>
            <ac:spMk id="21" creationId="{172CEFD2-F6A7-9140-95B3-BBFB0001EE47}"/>
          </ac:spMkLst>
        </pc:spChg>
        <pc:spChg chg="add mod">
          <ac:chgData name="Stina Torell" userId="42ae74f8-9b92-4847-96bc-2e51e5bf7907" providerId="ADAL" clId="{8222E77C-B75B-4648-AAD8-E34B669EE4DB}" dt="2022-04-26T15:05:00.134" v="11548" actId="1038"/>
          <ac:spMkLst>
            <pc:docMk/>
            <pc:sldMk cId="3300982436" sldId="2690"/>
            <ac:spMk id="22" creationId="{7B545557-902B-604C-91DC-3CEE00377852}"/>
          </ac:spMkLst>
        </pc:spChg>
        <pc:spChg chg="add mod">
          <ac:chgData name="Stina Torell" userId="42ae74f8-9b92-4847-96bc-2e51e5bf7907" providerId="ADAL" clId="{8222E77C-B75B-4648-AAD8-E34B669EE4DB}" dt="2022-04-26T15:05:00.134" v="11548" actId="1038"/>
          <ac:spMkLst>
            <pc:docMk/>
            <pc:sldMk cId="3300982436" sldId="2690"/>
            <ac:spMk id="23" creationId="{766B4BCF-D88D-274D-A27D-D96A49B4B58A}"/>
          </ac:spMkLst>
        </pc:spChg>
        <pc:spChg chg="add mod">
          <ac:chgData name="Stina Torell" userId="42ae74f8-9b92-4847-96bc-2e51e5bf7907" providerId="ADAL" clId="{8222E77C-B75B-4648-AAD8-E34B669EE4DB}" dt="2022-04-26T15:05:00.134" v="11548" actId="1038"/>
          <ac:spMkLst>
            <pc:docMk/>
            <pc:sldMk cId="3300982436" sldId="2690"/>
            <ac:spMk id="24" creationId="{6785DAE5-36CA-9242-96D4-A1B75241B9B3}"/>
          </ac:spMkLst>
        </pc:spChg>
        <pc:spChg chg="add mod">
          <ac:chgData name="Stina Torell" userId="42ae74f8-9b92-4847-96bc-2e51e5bf7907" providerId="ADAL" clId="{8222E77C-B75B-4648-AAD8-E34B669EE4DB}" dt="2022-04-26T15:05:00.134" v="11548" actId="1038"/>
          <ac:spMkLst>
            <pc:docMk/>
            <pc:sldMk cId="3300982436" sldId="2690"/>
            <ac:spMk id="25" creationId="{28DD0575-8E3A-9945-B5CA-9ECAF4F6D49B}"/>
          </ac:spMkLst>
        </pc:spChg>
        <pc:spChg chg="add mod">
          <ac:chgData name="Stina Torell" userId="42ae74f8-9b92-4847-96bc-2e51e5bf7907" providerId="ADAL" clId="{8222E77C-B75B-4648-AAD8-E34B669EE4DB}" dt="2022-04-26T15:05:00.134" v="11548" actId="1038"/>
          <ac:spMkLst>
            <pc:docMk/>
            <pc:sldMk cId="3300982436" sldId="2690"/>
            <ac:spMk id="26" creationId="{3C1E33B6-B152-324A-8C77-66F7E29CCCE5}"/>
          </ac:spMkLst>
        </pc:spChg>
        <pc:spChg chg="add mod">
          <ac:chgData name="Stina Torell" userId="42ae74f8-9b92-4847-96bc-2e51e5bf7907" providerId="ADAL" clId="{8222E77C-B75B-4648-AAD8-E34B669EE4DB}" dt="2022-04-26T15:05:00.134" v="11548" actId="1038"/>
          <ac:spMkLst>
            <pc:docMk/>
            <pc:sldMk cId="3300982436" sldId="2690"/>
            <ac:spMk id="27" creationId="{9B9B24F2-7079-9342-823E-941B3902A17D}"/>
          </ac:spMkLst>
        </pc:spChg>
        <pc:spChg chg="add mod">
          <ac:chgData name="Stina Torell" userId="42ae74f8-9b92-4847-96bc-2e51e5bf7907" providerId="ADAL" clId="{8222E77C-B75B-4648-AAD8-E34B669EE4DB}" dt="2022-04-26T15:05:00.134" v="11548" actId="1038"/>
          <ac:spMkLst>
            <pc:docMk/>
            <pc:sldMk cId="3300982436" sldId="2690"/>
            <ac:spMk id="28" creationId="{CC3A2EC9-8A6F-AA4D-B749-83FB597B66FE}"/>
          </ac:spMkLst>
        </pc:spChg>
        <pc:spChg chg="add mod">
          <ac:chgData name="Stina Torell" userId="42ae74f8-9b92-4847-96bc-2e51e5bf7907" providerId="ADAL" clId="{8222E77C-B75B-4648-AAD8-E34B669EE4DB}" dt="2022-04-26T15:05:00.134" v="11548" actId="1038"/>
          <ac:spMkLst>
            <pc:docMk/>
            <pc:sldMk cId="3300982436" sldId="2690"/>
            <ac:spMk id="29" creationId="{C551B276-5B9D-E14D-90AB-63AD45523BA2}"/>
          </ac:spMkLst>
        </pc:spChg>
        <pc:spChg chg="add del mod">
          <ac:chgData name="Stina Torell" userId="42ae74f8-9b92-4847-96bc-2e51e5bf7907" providerId="ADAL" clId="{8222E77C-B75B-4648-AAD8-E34B669EE4DB}" dt="2022-04-05T09:41:48.047" v="2058" actId="478"/>
          <ac:spMkLst>
            <pc:docMk/>
            <pc:sldMk cId="3300982436" sldId="2690"/>
            <ac:spMk id="30" creationId="{EA781142-0E1C-8E4C-B1D0-0541F3BD066A}"/>
          </ac:spMkLst>
        </pc:spChg>
        <pc:spChg chg="add del mod">
          <ac:chgData name="Stina Torell" userId="42ae74f8-9b92-4847-96bc-2e51e5bf7907" providerId="ADAL" clId="{8222E77C-B75B-4648-AAD8-E34B669EE4DB}" dt="2022-04-05T09:40:27.041" v="2035" actId="478"/>
          <ac:spMkLst>
            <pc:docMk/>
            <pc:sldMk cId="3300982436" sldId="2690"/>
            <ac:spMk id="31" creationId="{3BB745EA-8AA9-0846-8D16-CDAB962981BD}"/>
          </ac:spMkLst>
        </pc:spChg>
        <pc:spChg chg="add del mod">
          <ac:chgData name="Stina Torell" userId="42ae74f8-9b92-4847-96bc-2e51e5bf7907" providerId="ADAL" clId="{8222E77C-B75B-4648-AAD8-E34B669EE4DB}" dt="2022-04-05T09:42:35.036" v="2071" actId="478"/>
          <ac:spMkLst>
            <pc:docMk/>
            <pc:sldMk cId="3300982436" sldId="2690"/>
            <ac:spMk id="32" creationId="{C8771129-F791-924E-AD01-A695D944F209}"/>
          </ac:spMkLst>
        </pc:spChg>
        <pc:spChg chg="add del mod">
          <ac:chgData name="Stina Torell" userId="42ae74f8-9b92-4847-96bc-2e51e5bf7907" providerId="ADAL" clId="{8222E77C-B75B-4648-AAD8-E34B669EE4DB}" dt="2022-04-05T09:38:13.710" v="1982" actId="478"/>
          <ac:spMkLst>
            <pc:docMk/>
            <pc:sldMk cId="3300982436" sldId="2690"/>
            <ac:spMk id="33" creationId="{7A8405B3-B12A-1B4D-8DF0-00F6F0866338}"/>
          </ac:spMkLst>
        </pc:spChg>
        <pc:spChg chg="add del mod">
          <ac:chgData name="Stina Torell" userId="42ae74f8-9b92-4847-96bc-2e51e5bf7907" providerId="ADAL" clId="{8222E77C-B75B-4648-AAD8-E34B669EE4DB}" dt="2022-04-05T09:38:44.994" v="2010" actId="478"/>
          <ac:spMkLst>
            <pc:docMk/>
            <pc:sldMk cId="3300982436" sldId="2690"/>
            <ac:spMk id="34" creationId="{62D75818-EF83-B34C-B69F-6A2B7AAD3069}"/>
          </ac:spMkLst>
        </pc:spChg>
        <pc:spChg chg="add del mod">
          <ac:chgData name="Stina Torell" userId="42ae74f8-9b92-4847-96bc-2e51e5bf7907" providerId="ADAL" clId="{8222E77C-B75B-4648-AAD8-E34B669EE4DB}" dt="2022-04-05T09:38:16.675" v="1983" actId="478"/>
          <ac:spMkLst>
            <pc:docMk/>
            <pc:sldMk cId="3300982436" sldId="2690"/>
            <ac:spMk id="35" creationId="{CA243290-E15C-E54B-8398-3E05169C977D}"/>
          </ac:spMkLst>
        </pc:spChg>
        <pc:spChg chg="add mod">
          <ac:chgData name="Stina Torell" userId="42ae74f8-9b92-4847-96bc-2e51e5bf7907" providerId="ADAL" clId="{8222E77C-B75B-4648-AAD8-E34B669EE4DB}" dt="2022-04-26T15:05:00.134" v="11548" actId="1038"/>
          <ac:spMkLst>
            <pc:docMk/>
            <pc:sldMk cId="3300982436" sldId="2690"/>
            <ac:spMk id="36" creationId="{10D660A0-D4C4-6549-BF05-2614493EDB38}"/>
          </ac:spMkLst>
        </pc:spChg>
        <pc:spChg chg="add mod">
          <ac:chgData name="Stina Torell" userId="42ae74f8-9b92-4847-96bc-2e51e5bf7907" providerId="ADAL" clId="{8222E77C-B75B-4648-AAD8-E34B669EE4DB}" dt="2022-04-26T15:05:00.134" v="11548" actId="1038"/>
          <ac:spMkLst>
            <pc:docMk/>
            <pc:sldMk cId="3300982436" sldId="2690"/>
            <ac:spMk id="37" creationId="{4C91C960-395A-314B-874F-B6A440DDADFF}"/>
          </ac:spMkLst>
        </pc:spChg>
        <pc:spChg chg="add mod">
          <ac:chgData name="Stina Torell" userId="42ae74f8-9b92-4847-96bc-2e51e5bf7907" providerId="ADAL" clId="{8222E77C-B75B-4648-AAD8-E34B669EE4DB}" dt="2022-04-26T15:05:00.134" v="11548" actId="1038"/>
          <ac:spMkLst>
            <pc:docMk/>
            <pc:sldMk cId="3300982436" sldId="2690"/>
            <ac:spMk id="38" creationId="{13F83F06-E831-2A43-A3ED-691A4F9E477B}"/>
          </ac:spMkLst>
        </pc:spChg>
        <pc:spChg chg="add mod">
          <ac:chgData name="Stina Torell" userId="42ae74f8-9b92-4847-96bc-2e51e5bf7907" providerId="ADAL" clId="{8222E77C-B75B-4648-AAD8-E34B669EE4DB}" dt="2022-04-26T15:05:00.134" v="11548" actId="1038"/>
          <ac:spMkLst>
            <pc:docMk/>
            <pc:sldMk cId="3300982436" sldId="2690"/>
            <ac:spMk id="39" creationId="{814A85AC-86B3-F240-87A1-2EEB12D41B48}"/>
          </ac:spMkLst>
        </pc:spChg>
        <pc:spChg chg="add mod">
          <ac:chgData name="Stina Torell" userId="42ae74f8-9b92-4847-96bc-2e51e5bf7907" providerId="ADAL" clId="{8222E77C-B75B-4648-AAD8-E34B669EE4DB}" dt="2022-04-26T15:05:00.134" v="11548" actId="1038"/>
          <ac:spMkLst>
            <pc:docMk/>
            <pc:sldMk cId="3300982436" sldId="2690"/>
            <ac:spMk id="40" creationId="{76B035D5-D413-8F41-B899-35D0CF7354EF}"/>
          </ac:spMkLst>
        </pc:spChg>
        <pc:spChg chg="add mod">
          <ac:chgData name="Stina Torell" userId="42ae74f8-9b92-4847-96bc-2e51e5bf7907" providerId="ADAL" clId="{8222E77C-B75B-4648-AAD8-E34B669EE4DB}" dt="2022-04-26T15:05:00.134" v="11548" actId="1038"/>
          <ac:spMkLst>
            <pc:docMk/>
            <pc:sldMk cId="3300982436" sldId="2690"/>
            <ac:spMk id="41" creationId="{3F4F0F97-8DD1-414C-9337-4B01158B235A}"/>
          </ac:spMkLst>
        </pc:spChg>
        <pc:spChg chg="add mod">
          <ac:chgData name="Stina Torell" userId="42ae74f8-9b92-4847-96bc-2e51e5bf7907" providerId="ADAL" clId="{8222E77C-B75B-4648-AAD8-E34B669EE4DB}" dt="2022-04-26T15:05:00.134" v="11548" actId="1038"/>
          <ac:spMkLst>
            <pc:docMk/>
            <pc:sldMk cId="3300982436" sldId="2690"/>
            <ac:spMk id="42" creationId="{205A7518-2D59-8440-AA40-CB74D3471FD3}"/>
          </ac:spMkLst>
        </pc:spChg>
        <pc:spChg chg="add mod">
          <ac:chgData name="Stina Torell" userId="42ae74f8-9b92-4847-96bc-2e51e5bf7907" providerId="ADAL" clId="{8222E77C-B75B-4648-AAD8-E34B669EE4DB}" dt="2022-04-26T15:05:00.134" v="11548" actId="1038"/>
          <ac:spMkLst>
            <pc:docMk/>
            <pc:sldMk cId="3300982436" sldId="2690"/>
            <ac:spMk id="43" creationId="{BD92FC70-C0FC-7E40-BEE6-A8476DCD3002}"/>
          </ac:spMkLst>
        </pc:spChg>
        <pc:spChg chg="add mod">
          <ac:chgData name="Stina Torell" userId="42ae74f8-9b92-4847-96bc-2e51e5bf7907" providerId="ADAL" clId="{8222E77C-B75B-4648-AAD8-E34B669EE4DB}" dt="2022-04-26T15:05:00.134" v="11548" actId="1038"/>
          <ac:spMkLst>
            <pc:docMk/>
            <pc:sldMk cId="3300982436" sldId="2690"/>
            <ac:spMk id="44" creationId="{DF2671B8-985F-2E43-962E-A854BCA2EEB4}"/>
          </ac:spMkLst>
        </pc:spChg>
        <pc:spChg chg="add mod">
          <ac:chgData name="Stina Torell" userId="42ae74f8-9b92-4847-96bc-2e51e5bf7907" providerId="ADAL" clId="{8222E77C-B75B-4648-AAD8-E34B669EE4DB}" dt="2022-04-26T15:05:00.134" v="11548" actId="1038"/>
          <ac:spMkLst>
            <pc:docMk/>
            <pc:sldMk cId="3300982436" sldId="2690"/>
            <ac:spMk id="45" creationId="{8C0C3FED-26E5-6B41-A8D1-693F94901A22}"/>
          </ac:spMkLst>
        </pc:spChg>
        <pc:spChg chg="add mod">
          <ac:chgData name="Stina Torell" userId="42ae74f8-9b92-4847-96bc-2e51e5bf7907" providerId="ADAL" clId="{8222E77C-B75B-4648-AAD8-E34B669EE4DB}" dt="2022-04-26T15:05:00.134" v="11548" actId="1038"/>
          <ac:spMkLst>
            <pc:docMk/>
            <pc:sldMk cId="3300982436" sldId="2690"/>
            <ac:spMk id="46" creationId="{FD198A26-1258-7247-A2A8-4261F70F54AC}"/>
          </ac:spMkLst>
        </pc:spChg>
        <pc:spChg chg="add mod">
          <ac:chgData name="Stina Torell" userId="42ae74f8-9b92-4847-96bc-2e51e5bf7907" providerId="ADAL" clId="{8222E77C-B75B-4648-AAD8-E34B669EE4DB}" dt="2022-04-26T15:05:00.134" v="11548" actId="1038"/>
          <ac:spMkLst>
            <pc:docMk/>
            <pc:sldMk cId="3300982436" sldId="2690"/>
            <ac:spMk id="47" creationId="{C764A978-D52E-BF47-A9A1-2D0E08A79672}"/>
          </ac:spMkLst>
        </pc:spChg>
        <pc:spChg chg="add mod">
          <ac:chgData name="Stina Torell" userId="42ae74f8-9b92-4847-96bc-2e51e5bf7907" providerId="ADAL" clId="{8222E77C-B75B-4648-AAD8-E34B669EE4DB}" dt="2022-04-26T15:05:00.134" v="11548" actId="1038"/>
          <ac:spMkLst>
            <pc:docMk/>
            <pc:sldMk cId="3300982436" sldId="2690"/>
            <ac:spMk id="48" creationId="{AC52AB05-03F7-5F4E-9614-83CCBB15B634}"/>
          </ac:spMkLst>
        </pc:spChg>
        <pc:spChg chg="add del mod">
          <ac:chgData name="Stina Torell" userId="42ae74f8-9b92-4847-96bc-2e51e5bf7907" providerId="ADAL" clId="{8222E77C-B75B-4648-AAD8-E34B669EE4DB}" dt="2022-04-11T14:43:14.887" v="4272" actId="478"/>
          <ac:spMkLst>
            <pc:docMk/>
            <pc:sldMk cId="3300982436" sldId="2690"/>
            <ac:spMk id="49" creationId="{0B596485-7673-634B-AAB1-E9118D246980}"/>
          </ac:spMkLst>
        </pc:spChg>
        <pc:spChg chg="add mod">
          <ac:chgData name="Stina Torell" userId="42ae74f8-9b92-4847-96bc-2e51e5bf7907" providerId="ADAL" clId="{8222E77C-B75B-4648-AAD8-E34B669EE4DB}" dt="2022-04-26T15:05:00.134" v="11548" actId="1038"/>
          <ac:spMkLst>
            <pc:docMk/>
            <pc:sldMk cId="3300982436" sldId="2690"/>
            <ac:spMk id="49" creationId="{C87C8E78-FD5F-B648-9505-D3CEFB6F4A07}"/>
          </ac:spMkLst>
        </pc:spChg>
        <pc:spChg chg="add mod">
          <ac:chgData name="Stina Torell" userId="42ae74f8-9b92-4847-96bc-2e51e5bf7907" providerId="ADAL" clId="{8222E77C-B75B-4648-AAD8-E34B669EE4DB}" dt="2022-04-26T15:05:00.134" v="11548" actId="1038"/>
          <ac:spMkLst>
            <pc:docMk/>
            <pc:sldMk cId="3300982436" sldId="2690"/>
            <ac:spMk id="50" creationId="{F5C25EC6-E1B5-3249-A9DA-8379D65AD0AF}"/>
          </ac:spMkLst>
        </pc:spChg>
        <pc:spChg chg="add mod">
          <ac:chgData name="Stina Torell" userId="42ae74f8-9b92-4847-96bc-2e51e5bf7907" providerId="ADAL" clId="{8222E77C-B75B-4648-AAD8-E34B669EE4DB}" dt="2022-04-26T15:05:00.134" v="11548" actId="1038"/>
          <ac:spMkLst>
            <pc:docMk/>
            <pc:sldMk cId="3300982436" sldId="2690"/>
            <ac:spMk id="51" creationId="{AB28854A-75F5-C744-8CBD-6A678ECA6765}"/>
          </ac:spMkLst>
        </pc:spChg>
        <pc:spChg chg="add mod">
          <ac:chgData name="Stina Torell" userId="42ae74f8-9b92-4847-96bc-2e51e5bf7907" providerId="ADAL" clId="{8222E77C-B75B-4648-AAD8-E34B669EE4DB}" dt="2022-04-26T15:05:00.134" v="11548" actId="1038"/>
          <ac:spMkLst>
            <pc:docMk/>
            <pc:sldMk cId="3300982436" sldId="2690"/>
            <ac:spMk id="52" creationId="{5694BC42-117F-4D47-822C-CB59ECFFF6C4}"/>
          </ac:spMkLst>
        </pc:spChg>
        <pc:spChg chg="add mod">
          <ac:chgData name="Stina Torell" userId="42ae74f8-9b92-4847-96bc-2e51e5bf7907" providerId="ADAL" clId="{8222E77C-B75B-4648-AAD8-E34B669EE4DB}" dt="2022-04-26T15:05:00.134" v="11548" actId="1038"/>
          <ac:spMkLst>
            <pc:docMk/>
            <pc:sldMk cId="3300982436" sldId="2690"/>
            <ac:spMk id="53" creationId="{6E21B888-8107-2045-B685-E902C7E75E85}"/>
          </ac:spMkLst>
        </pc:spChg>
        <pc:spChg chg="add mod">
          <ac:chgData name="Stina Torell" userId="42ae74f8-9b92-4847-96bc-2e51e5bf7907" providerId="ADAL" clId="{8222E77C-B75B-4648-AAD8-E34B669EE4DB}" dt="2022-04-26T15:05:00.134" v="11548" actId="1038"/>
          <ac:spMkLst>
            <pc:docMk/>
            <pc:sldMk cId="3300982436" sldId="2690"/>
            <ac:spMk id="54" creationId="{FB8C834B-5BDD-F640-9167-D2005DD00A05}"/>
          </ac:spMkLst>
        </pc:spChg>
        <pc:cxnChg chg="add del mod">
          <ac:chgData name="Stina Torell" userId="42ae74f8-9b92-4847-96bc-2e51e5bf7907" providerId="ADAL" clId="{8222E77C-B75B-4648-AAD8-E34B669EE4DB}" dt="2022-04-11T19:59:03.154" v="6067" actId="478"/>
          <ac:cxnSpMkLst>
            <pc:docMk/>
            <pc:sldMk cId="3300982436" sldId="2690"/>
            <ac:cxnSpMk id="19" creationId="{C731EAF7-1A68-AD48-81F0-8D3F559F48F6}"/>
          </ac:cxnSpMkLst>
        </pc:cxnChg>
        <pc:cxnChg chg="add mod">
          <ac:chgData name="Stina Torell" userId="42ae74f8-9b92-4847-96bc-2e51e5bf7907" providerId="ADAL" clId="{8222E77C-B75B-4648-AAD8-E34B669EE4DB}" dt="2022-04-26T15:05:00.134" v="11548" actId="1038"/>
          <ac:cxnSpMkLst>
            <pc:docMk/>
            <pc:sldMk cId="3300982436" sldId="2690"/>
            <ac:cxnSpMk id="31" creationId="{1B54AEA5-66B7-834D-AD6F-0380AB67521C}"/>
          </ac:cxnSpMkLst>
        </pc:cxnChg>
      </pc:sldChg>
      <pc:sldChg chg="addSp delSp modSp add del mod ord addCm modCm">
        <pc:chgData name="Stina Torell" userId="42ae74f8-9b92-4847-96bc-2e51e5bf7907" providerId="ADAL" clId="{8222E77C-B75B-4648-AAD8-E34B669EE4DB}" dt="2022-04-14T10:33:00.481" v="9352" actId="2696"/>
        <pc:sldMkLst>
          <pc:docMk/>
          <pc:sldMk cId="2133309828" sldId="2691"/>
        </pc:sldMkLst>
        <pc:spChg chg="add mod">
          <ac:chgData name="Stina Torell" userId="42ae74f8-9b92-4847-96bc-2e51e5bf7907" providerId="ADAL" clId="{8222E77C-B75B-4648-AAD8-E34B669EE4DB}" dt="2022-04-11T14:21:24.571" v="4005" actId="20577"/>
          <ac:spMkLst>
            <pc:docMk/>
            <pc:sldMk cId="2133309828" sldId="2691"/>
            <ac:spMk id="2" creationId="{66C3142D-3355-D644-8BD9-E5C46466561D}"/>
          </ac:spMkLst>
        </pc:spChg>
        <pc:spChg chg="del mod">
          <ac:chgData name="Stina Torell" userId="42ae74f8-9b92-4847-96bc-2e51e5bf7907" providerId="ADAL" clId="{8222E77C-B75B-4648-AAD8-E34B669EE4DB}" dt="2022-04-11T13:55:55.360" v="3343" actId="478"/>
          <ac:spMkLst>
            <pc:docMk/>
            <pc:sldMk cId="2133309828" sldId="2691"/>
            <ac:spMk id="3" creationId="{0B75DCA2-8F0A-5846-A158-63E27992F450}"/>
          </ac:spMkLst>
        </pc:spChg>
        <pc:spChg chg="mod">
          <ac:chgData name="Stina Torell" userId="42ae74f8-9b92-4847-96bc-2e51e5bf7907" providerId="ADAL" clId="{8222E77C-B75B-4648-AAD8-E34B669EE4DB}" dt="2022-04-11T14:14:48.493" v="3940" actId="1035"/>
          <ac:spMkLst>
            <pc:docMk/>
            <pc:sldMk cId="2133309828" sldId="2691"/>
            <ac:spMk id="4" creationId="{BB9E442C-18ED-C84A-9A1A-B046424F324B}"/>
          </ac:spMkLst>
        </pc:spChg>
        <pc:spChg chg="add del mod">
          <ac:chgData name="Stina Torell" userId="42ae74f8-9b92-4847-96bc-2e51e5bf7907" providerId="ADAL" clId="{8222E77C-B75B-4648-AAD8-E34B669EE4DB}" dt="2022-04-11T14:06:39.841" v="3627"/>
          <ac:spMkLst>
            <pc:docMk/>
            <pc:sldMk cId="2133309828" sldId="2691"/>
            <ac:spMk id="5" creationId="{387F71D2-E4BB-2544-BE70-025314B68EF6}"/>
          </ac:spMkLst>
        </pc:spChg>
        <pc:spChg chg="add del mod">
          <ac:chgData name="Stina Torell" userId="42ae74f8-9b92-4847-96bc-2e51e5bf7907" providerId="ADAL" clId="{8222E77C-B75B-4648-AAD8-E34B669EE4DB}" dt="2022-04-11T14:12:40.377" v="3739" actId="478"/>
          <ac:spMkLst>
            <pc:docMk/>
            <pc:sldMk cId="2133309828" sldId="2691"/>
            <ac:spMk id="6" creationId="{1569CBC9-CC00-5645-AEEF-A08806035DD2}"/>
          </ac:spMkLst>
        </pc:spChg>
        <pc:spChg chg="add del">
          <ac:chgData name="Stina Torell" userId="42ae74f8-9b92-4847-96bc-2e51e5bf7907" providerId="ADAL" clId="{8222E77C-B75B-4648-AAD8-E34B669EE4DB}" dt="2022-04-11T14:41:11.628" v="4240" actId="478"/>
          <ac:spMkLst>
            <pc:docMk/>
            <pc:sldMk cId="2133309828" sldId="2691"/>
            <ac:spMk id="7" creationId="{F6076C39-6C8A-2C44-ADA6-CEDCC2D14AFC}"/>
          </ac:spMkLst>
        </pc:spChg>
        <pc:spChg chg="del">
          <ac:chgData name="Stina Torell" userId="42ae74f8-9b92-4847-96bc-2e51e5bf7907" providerId="ADAL" clId="{8222E77C-B75B-4648-AAD8-E34B669EE4DB}" dt="2022-04-11T13:55:39.352" v="3337" actId="478"/>
          <ac:spMkLst>
            <pc:docMk/>
            <pc:sldMk cId="2133309828" sldId="2691"/>
            <ac:spMk id="15" creationId="{D2064458-924C-EE44-8ADC-B8E5609126BF}"/>
          </ac:spMkLst>
        </pc:spChg>
        <pc:spChg chg="add mod">
          <ac:chgData name="Stina Torell" userId="42ae74f8-9b92-4847-96bc-2e51e5bf7907" providerId="ADAL" clId="{8222E77C-B75B-4648-AAD8-E34B669EE4DB}" dt="2022-04-11T14:15:20.180" v="3958" actId="1035"/>
          <ac:spMkLst>
            <pc:docMk/>
            <pc:sldMk cId="2133309828" sldId="2691"/>
            <ac:spMk id="16" creationId="{43CA227C-960C-1347-B4C7-8AD40EDB1CF1}"/>
          </ac:spMkLst>
        </pc:spChg>
        <pc:spChg chg="del mod">
          <ac:chgData name="Stina Torell" userId="42ae74f8-9b92-4847-96bc-2e51e5bf7907" providerId="ADAL" clId="{8222E77C-B75B-4648-AAD8-E34B669EE4DB}" dt="2022-04-11T13:55:46.608" v="3339" actId="478"/>
          <ac:spMkLst>
            <pc:docMk/>
            <pc:sldMk cId="2133309828" sldId="2691"/>
            <ac:spMk id="17" creationId="{7F53F4ED-4FF7-D444-A1FD-793197C3D0EE}"/>
          </ac:spMkLst>
        </pc:spChg>
        <pc:spChg chg="add del mod">
          <ac:chgData name="Stina Torell" userId="42ae74f8-9b92-4847-96bc-2e51e5bf7907" providerId="ADAL" clId="{8222E77C-B75B-4648-AAD8-E34B669EE4DB}" dt="2022-04-11T13:56:15.303" v="3349" actId="478"/>
          <ac:spMkLst>
            <pc:docMk/>
            <pc:sldMk cId="2133309828" sldId="2691"/>
            <ac:spMk id="19" creationId="{66E2B1D4-C55C-6249-9467-A5AEBD73429B}"/>
          </ac:spMkLst>
        </pc:spChg>
        <pc:spChg chg="add mod">
          <ac:chgData name="Stina Torell" userId="42ae74f8-9b92-4847-96bc-2e51e5bf7907" providerId="ADAL" clId="{8222E77C-B75B-4648-AAD8-E34B669EE4DB}" dt="2022-04-11T14:15:20.180" v="3958" actId="1035"/>
          <ac:spMkLst>
            <pc:docMk/>
            <pc:sldMk cId="2133309828" sldId="2691"/>
            <ac:spMk id="20" creationId="{225EE515-87A3-024F-8E59-CAAE2A91B722}"/>
          </ac:spMkLst>
        </pc:spChg>
        <pc:spChg chg="add mod">
          <ac:chgData name="Stina Torell" userId="42ae74f8-9b92-4847-96bc-2e51e5bf7907" providerId="ADAL" clId="{8222E77C-B75B-4648-AAD8-E34B669EE4DB}" dt="2022-04-11T14:15:20.180" v="3958" actId="1035"/>
          <ac:spMkLst>
            <pc:docMk/>
            <pc:sldMk cId="2133309828" sldId="2691"/>
            <ac:spMk id="21" creationId="{CC10F94E-50BF-0140-9967-F9E9DAE43AA6}"/>
          </ac:spMkLst>
        </pc:spChg>
        <pc:spChg chg="add mod">
          <ac:chgData name="Stina Torell" userId="42ae74f8-9b92-4847-96bc-2e51e5bf7907" providerId="ADAL" clId="{8222E77C-B75B-4648-AAD8-E34B669EE4DB}" dt="2022-04-11T14:15:20.180" v="3958" actId="1035"/>
          <ac:spMkLst>
            <pc:docMk/>
            <pc:sldMk cId="2133309828" sldId="2691"/>
            <ac:spMk id="24" creationId="{F5649740-15FB-BB40-8CEB-F6B56506630B}"/>
          </ac:spMkLst>
        </pc:spChg>
        <pc:spChg chg="add del mod">
          <ac:chgData name="Stina Torell" userId="42ae74f8-9b92-4847-96bc-2e51e5bf7907" providerId="ADAL" clId="{8222E77C-B75B-4648-AAD8-E34B669EE4DB}" dt="2022-04-11T14:02:24.695" v="3550" actId="478"/>
          <ac:spMkLst>
            <pc:docMk/>
            <pc:sldMk cId="2133309828" sldId="2691"/>
            <ac:spMk id="25" creationId="{D962E27B-4941-CA43-8907-C10835587E83}"/>
          </ac:spMkLst>
        </pc:spChg>
        <pc:spChg chg="add del mod">
          <ac:chgData name="Stina Torell" userId="42ae74f8-9b92-4847-96bc-2e51e5bf7907" providerId="ADAL" clId="{8222E77C-B75B-4648-AAD8-E34B669EE4DB}" dt="2022-04-11T14:02:24.695" v="3550" actId="478"/>
          <ac:spMkLst>
            <pc:docMk/>
            <pc:sldMk cId="2133309828" sldId="2691"/>
            <ac:spMk id="27" creationId="{86EB13EB-9B92-C840-BBD9-4DEC78627C12}"/>
          </ac:spMkLst>
        </pc:spChg>
        <pc:spChg chg="mod">
          <ac:chgData name="Stina Torell" userId="42ae74f8-9b92-4847-96bc-2e51e5bf7907" providerId="ADAL" clId="{8222E77C-B75B-4648-AAD8-E34B669EE4DB}" dt="2022-04-12T07:19:54.418" v="7550" actId="1076"/>
          <ac:spMkLst>
            <pc:docMk/>
            <pc:sldMk cId="2133309828" sldId="2691"/>
            <ac:spMk id="29" creationId="{E46A88B8-12EC-6644-BDBA-0013C056925F}"/>
          </ac:spMkLst>
        </pc:spChg>
        <pc:spChg chg="add del mod">
          <ac:chgData name="Stina Torell" userId="42ae74f8-9b92-4847-96bc-2e51e5bf7907" providerId="ADAL" clId="{8222E77C-B75B-4648-AAD8-E34B669EE4DB}" dt="2022-04-11T14:02:24.695" v="3550" actId="478"/>
          <ac:spMkLst>
            <pc:docMk/>
            <pc:sldMk cId="2133309828" sldId="2691"/>
            <ac:spMk id="30" creationId="{828336E1-7B08-4B43-A269-043A972514B5}"/>
          </ac:spMkLst>
        </pc:spChg>
        <pc:spChg chg="add mod">
          <ac:chgData name="Stina Torell" userId="42ae74f8-9b92-4847-96bc-2e51e5bf7907" providerId="ADAL" clId="{8222E77C-B75B-4648-AAD8-E34B669EE4DB}" dt="2022-04-11T14:15:20.180" v="3958" actId="1035"/>
          <ac:spMkLst>
            <pc:docMk/>
            <pc:sldMk cId="2133309828" sldId="2691"/>
            <ac:spMk id="35" creationId="{71C2EF32-D181-F14D-8A38-4C9A5BAFEA32}"/>
          </ac:spMkLst>
        </pc:spChg>
        <pc:spChg chg="add mod">
          <ac:chgData name="Stina Torell" userId="42ae74f8-9b92-4847-96bc-2e51e5bf7907" providerId="ADAL" clId="{8222E77C-B75B-4648-AAD8-E34B669EE4DB}" dt="2022-04-11T14:21:26.679" v="4007" actId="20577"/>
          <ac:spMkLst>
            <pc:docMk/>
            <pc:sldMk cId="2133309828" sldId="2691"/>
            <ac:spMk id="36" creationId="{ED587A22-1A24-8548-BD46-080E6554F29A}"/>
          </ac:spMkLst>
        </pc:spChg>
        <pc:spChg chg="add mod">
          <ac:chgData name="Stina Torell" userId="42ae74f8-9b92-4847-96bc-2e51e5bf7907" providerId="ADAL" clId="{8222E77C-B75B-4648-AAD8-E34B669EE4DB}" dt="2022-04-11T14:15:20.180" v="3958" actId="1035"/>
          <ac:spMkLst>
            <pc:docMk/>
            <pc:sldMk cId="2133309828" sldId="2691"/>
            <ac:spMk id="37" creationId="{A5EF99E6-FAB8-2346-A343-34570B94BC29}"/>
          </ac:spMkLst>
        </pc:spChg>
        <pc:spChg chg="add mod">
          <ac:chgData name="Stina Torell" userId="42ae74f8-9b92-4847-96bc-2e51e5bf7907" providerId="ADAL" clId="{8222E77C-B75B-4648-AAD8-E34B669EE4DB}" dt="2022-04-11T14:15:20.180" v="3958" actId="1035"/>
          <ac:spMkLst>
            <pc:docMk/>
            <pc:sldMk cId="2133309828" sldId="2691"/>
            <ac:spMk id="38" creationId="{C35A410D-1F7C-1F4B-95FF-6227F91325C0}"/>
          </ac:spMkLst>
        </pc:spChg>
        <pc:spChg chg="add del mod">
          <ac:chgData name="Stina Torell" userId="42ae74f8-9b92-4847-96bc-2e51e5bf7907" providerId="ADAL" clId="{8222E77C-B75B-4648-AAD8-E34B669EE4DB}" dt="2022-04-11T14:03:40.692" v="3569" actId="478"/>
          <ac:spMkLst>
            <pc:docMk/>
            <pc:sldMk cId="2133309828" sldId="2691"/>
            <ac:spMk id="39" creationId="{B72DE185-CAF1-1E44-AAB2-6604FF4C004B}"/>
          </ac:spMkLst>
        </pc:spChg>
        <pc:spChg chg="add mod">
          <ac:chgData name="Stina Torell" userId="42ae74f8-9b92-4847-96bc-2e51e5bf7907" providerId="ADAL" clId="{8222E77C-B75B-4648-AAD8-E34B669EE4DB}" dt="2022-04-11T14:15:20.180" v="3958" actId="1035"/>
          <ac:spMkLst>
            <pc:docMk/>
            <pc:sldMk cId="2133309828" sldId="2691"/>
            <ac:spMk id="40" creationId="{7B887C45-2857-0C4E-A84A-D0D479CC5E69}"/>
          </ac:spMkLst>
        </pc:spChg>
        <pc:spChg chg="add mod">
          <ac:chgData name="Stina Torell" userId="42ae74f8-9b92-4847-96bc-2e51e5bf7907" providerId="ADAL" clId="{8222E77C-B75B-4648-AAD8-E34B669EE4DB}" dt="2022-04-11T14:15:20.180" v="3958" actId="1035"/>
          <ac:spMkLst>
            <pc:docMk/>
            <pc:sldMk cId="2133309828" sldId="2691"/>
            <ac:spMk id="41" creationId="{99EC2005-29F9-3443-8533-4B7490F01FC0}"/>
          </ac:spMkLst>
        </pc:spChg>
        <pc:spChg chg="add mod">
          <ac:chgData name="Stina Torell" userId="42ae74f8-9b92-4847-96bc-2e51e5bf7907" providerId="ADAL" clId="{8222E77C-B75B-4648-AAD8-E34B669EE4DB}" dt="2022-04-11T14:15:20.180" v="3958" actId="1035"/>
          <ac:spMkLst>
            <pc:docMk/>
            <pc:sldMk cId="2133309828" sldId="2691"/>
            <ac:spMk id="42" creationId="{36F01351-C455-AE40-9CE8-2D7ADB8BE68A}"/>
          </ac:spMkLst>
        </pc:spChg>
        <pc:spChg chg="add mod">
          <ac:chgData name="Stina Torell" userId="42ae74f8-9b92-4847-96bc-2e51e5bf7907" providerId="ADAL" clId="{8222E77C-B75B-4648-AAD8-E34B669EE4DB}" dt="2022-04-11T14:15:20.180" v="3958" actId="1035"/>
          <ac:spMkLst>
            <pc:docMk/>
            <pc:sldMk cId="2133309828" sldId="2691"/>
            <ac:spMk id="47" creationId="{C042DEED-CEAE-054E-A4DF-7459090495F8}"/>
          </ac:spMkLst>
        </pc:spChg>
        <pc:spChg chg="add mod">
          <ac:chgData name="Stina Torell" userId="42ae74f8-9b92-4847-96bc-2e51e5bf7907" providerId="ADAL" clId="{8222E77C-B75B-4648-AAD8-E34B669EE4DB}" dt="2022-04-11T14:15:20.180" v="3958" actId="1035"/>
          <ac:spMkLst>
            <pc:docMk/>
            <pc:sldMk cId="2133309828" sldId="2691"/>
            <ac:spMk id="48" creationId="{D3CB3F30-CB4E-4C46-BC6D-DAAD04D58015}"/>
          </ac:spMkLst>
        </pc:spChg>
        <pc:spChg chg="add del mod">
          <ac:chgData name="Stina Torell" userId="42ae74f8-9b92-4847-96bc-2e51e5bf7907" providerId="ADAL" clId="{8222E77C-B75B-4648-AAD8-E34B669EE4DB}" dt="2022-04-11T14:03:38.087" v="3567" actId="478"/>
          <ac:spMkLst>
            <pc:docMk/>
            <pc:sldMk cId="2133309828" sldId="2691"/>
            <ac:spMk id="49" creationId="{D22DF84E-AA49-B241-B29B-177B6AFC5D04}"/>
          </ac:spMkLst>
        </pc:spChg>
        <pc:spChg chg="add del mod">
          <ac:chgData name="Stina Torell" userId="42ae74f8-9b92-4847-96bc-2e51e5bf7907" providerId="ADAL" clId="{8222E77C-B75B-4648-AAD8-E34B669EE4DB}" dt="2022-04-11T14:09:02.559" v="3662" actId="478"/>
          <ac:spMkLst>
            <pc:docMk/>
            <pc:sldMk cId="2133309828" sldId="2691"/>
            <ac:spMk id="53" creationId="{52DF179C-7DB6-EB46-820C-1CD903FEFF04}"/>
          </ac:spMkLst>
        </pc:spChg>
        <pc:spChg chg="add del mod">
          <ac:chgData name="Stina Torell" userId="42ae74f8-9b92-4847-96bc-2e51e5bf7907" providerId="ADAL" clId="{8222E77C-B75B-4648-AAD8-E34B669EE4DB}" dt="2022-04-11T14:11:49.130" v="3724" actId="478"/>
          <ac:spMkLst>
            <pc:docMk/>
            <pc:sldMk cId="2133309828" sldId="2691"/>
            <ac:spMk id="54" creationId="{28197E51-CC5C-B949-AA4E-2096FB0D03A1}"/>
          </ac:spMkLst>
        </pc:spChg>
        <pc:spChg chg="add mod">
          <ac:chgData name="Stina Torell" userId="42ae74f8-9b92-4847-96bc-2e51e5bf7907" providerId="ADAL" clId="{8222E77C-B75B-4648-AAD8-E34B669EE4DB}" dt="2022-04-11T14:15:20.180" v="3958" actId="1035"/>
          <ac:spMkLst>
            <pc:docMk/>
            <pc:sldMk cId="2133309828" sldId="2691"/>
            <ac:spMk id="55" creationId="{BA22289F-2993-6D48-A888-AD8DEE3944B2}"/>
          </ac:spMkLst>
        </pc:spChg>
        <pc:spChg chg="add mod">
          <ac:chgData name="Stina Torell" userId="42ae74f8-9b92-4847-96bc-2e51e5bf7907" providerId="ADAL" clId="{8222E77C-B75B-4648-AAD8-E34B669EE4DB}" dt="2022-04-11T14:15:20.180" v="3958" actId="1035"/>
          <ac:spMkLst>
            <pc:docMk/>
            <pc:sldMk cId="2133309828" sldId="2691"/>
            <ac:spMk id="56" creationId="{00CEC122-C2A1-8440-AFF2-86773C03198E}"/>
          </ac:spMkLst>
        </pc:spChg>
        <pc:picChg chg="del">
          <ac:chgData name="Stina Torell" userId="42ae74f8-9b92-4847-96bc-2e51e5bf7907" providerId="ADAL" clId="{8222E77C-B75B-4648-AAD8-E34B669EE4DB}" dt="2022-04-11T13:55:50.032" v="3340" actId="478"/>
          <ac:picMkLst>
            <pc:docMk/>
            <pc:sldMk cId="2133309828" sldId="2691"/>
            <ac:picMk id="11" creationId="{ABA160FE-94A5-C448-8195-EF37F2F8EA9B}"/>
          </ac:picMkLst>
        </pc:picChg>
        <pc:picChg chg="del">
          <ac:chgData name="Stina Torell" userId="42ae74f8-9b92-4847-96bc-2e51e5bf7907" providerId="ADAL" clId="{8222E77C-B75B-4648-AAD8-E34B669EE4DB}" dt="2022-04-11T13:55:50.032" v="3340" actId="478"/>
          <ac:picMkLst>
            <pc:docMk/>
            <pc:sldMk cId="2133309828" sldId="2691"/>
            <ac:picMk id="14" creationId="{26233AFE-B3AC-6D47-9B0C-6BC7EC1AC448}"/>
          </ac:picMkLst>
        </pc:picChg>
        <pc:picChg chg="del">
          <ac:chgData name="Stina Torell" userId="42ae74f8-9b92-4847-96bc-2e51e5bf7907" providerId="ADAL" clId="{8222E77C-B75B-4648-AAD8-E34B669EE4DB}" dt="2022-04-11T13:55:52.428" v="3341" actId="478"/>
          <ac:picMkLst>
            <pc:docMk/>
            <pc:sldMk cId="2133309828" sldId="2691"/>
            <ac:picMk id="18" creationId="{6D4F96F5-B7BA-864C-A3E4-C129FB2B8463}"/>
          </ac:picMkLst>
        </pc:picChg>
        <pc:picChg chg="del">
          <ac:chgData name="Stina Torell" userId="42ae74f8-9b92-4847-96bc-2e51e5bf7907" providerId="ADAL" clId="{8222E77C-B75B-4648-AAD8-E34B669EE4DB}" dt="2022-04-11T13:55:50.032" v="3340" actId="478"/>
          <ac:picMkLst>
            <pc:docMk/>
            <pc:sldMk cId="2133309828" sldId="2691"/>
            <ac:picMk id="22" creationId="{1EEACD6D-8D5B-EA40-B272-1134382A92FB}"/>
          </ac:picMkLst>
        </pc:picChg>
        <pc:picChg chg="del">
          <ac:chgData name="Stina Torell" userId="42ae74f8-9b92-4847-96bc-2e51e5bf7907" providerId="ADAL" clId="{8222E77C-B75B-4648-AAD8-E34B669EE4DB}" dt="2022-04-11T13:55:50.032" v="3340" actId="478"/>
          <ac:picMkLst>
            <pc:docMk/>
            <pc:sldMk cId="2133309828" sldId="2691"/>
            <ac:picMk id="23" creationId="{7D6BF15C-6D9F-BF4F-8C1D-3FEE2C988A41}"/>
          </ac:picMkLst>
        </pc:picChg>
        <pc:picChg chg="del">
          <ac:chgData name="Stina Torell" userId="42ae74f8-9b92-4847-96bc-2e51e5bf7907" providerId="ADAL" clId="{8222E77C-B75B-4648-AAD8-E34B669EE4DB}" dt="2022-04-11T13:55:58.144" v="3344" actId="478"/>
          <ac:picMkLst>
            <pc:docMk/>
            <pc:sldMk cId="2133309828" sldId="2691"/>
            <ac:picMk id="26" creationId="{A5D2E73D-1104-C944-80E5-2CE98A7BE07D}"/>
          </ac:picMkLst>
        </pc:picChg>
        <pc:picChg chg="del">
          <ac:chgData name="Stina Torell" userId="42ae74f8-9b92-4847-96bc-2e51e5bf7907" providerId="ADAL" clId="{8222E77C-B75B-4648-AAD8-E34B669EE4DB}" dt="2022-04-11T13:55:50.032" v="3340" actId="478"/>
          <ac:picMkLst>
            <pc:docMk/>
            <pc:sldMk cId="2133309828" sldId="2691"/>
            <ac:picMk id="28" creationId="{2C129D98-4CA0-2B42-ADCE-D48DD26BE240}"/>
          </ac:picMkLst>
        </pc:picChg>
        <pc:picChg chg="add mod">
          <ac:chgData name="Stina Torell" userId="42ae74f8-9b92-4847-96bc-2e51e5bf7907" providerId="ADAL" clId="{8222E77C-B75B-4648-AAD8-E34B669EE4DB}" dt="2022-04-11T14:15:20.180" v="3958" actId="1035"/>
          <ac:picMkLst>
            <pc:docMk/>
            <pc:sldMk cId="2133309828" sldId="2691"/>
            <ac:picMk id="31" creationId="{654D3296-96F0-0345-8D43-F949F6D2CF27}"/>
          </ac:picMkLst>
        </pc:picChg>
        <pc:picChg chg="add mod">
          <ac:chgData name="Stina Torell" userId="42ae74f8-9b92-4847-96bc-2e51e5bf7907" providerId="ADAL" clId="{8222E77C-B75B-4648-AAD8-E34B669EE4DB}" dt="2022-04-11T14:15:20.180" v="3958" actId="1035"/>
          <ac:picMkLst>
            <pc:docMk/>
            <pc:sldMk cId="2133309828" sldId="2691"/>
            <ac:picMk id="32" creationId="{9751D2EE-C26D-B64C-B387-0906ED556194}"/>
          </ac:picMkLst>
        </pc:picChg>
        <pc:picChg chg="add mod">
          <ac:chgData name="Stina Torell" userId="42ae74f8-9b92-4847-96bc-2e51e5bf7907" providerId="ADAL" clId="{8222E77C-B75B-4648-AAD8-E34B669EE4DB}" dt="2022-04-11T14:15:20.180" v="3958" actId="1035"/>
          <ac:picMkLst>
            <pc:docMk/>
            <pc:sldMk cId="2133309828" sldId="2691"/>
            <ac:picMk id="33" creationId="{ECD11009-272E-9C43-9905-F5BDE19C1D40}"/>
          </ac:picMkLst>
        </pc:picChg>
        <pc:picChg chg="add mod">
          <ac:chgData name="Stina Torell" userId="42ae74f8-9b92-4847-96bc-2e51e5bf7907" providerId="ADAL" clId="{8222E77C-B75B-4648-AAD8-E34B669EE4DB}" dt="2022-04-11T14:15:20.180" v="3958" actId="1035"/>
          <ac:picMkLst>
            <pc:docMk/>
            <pc:sldMk cId="2133309828" sldId="2691"/>
            <ac:picMk id="34" creationId="{F9B41FD0-FE65-5848-9385-CC70CEC526CB}"/>
          </ac:picMkLst>
        </pc:picChg>
        <pc:picChg chg="add del mod">
          <ac:chgData name="Stina Torell" userId="42ae74f8-9b92-4847-96bc-2e51e5bf7907" providerId="ADAL" clId="{8222E77C-B75B-4648-AAD8-E34B669EE4DB}" dt="2022-04-11T14:04:02.715" v="3575" actId="478"/>
          <ac:picMkLst>
            <pc:docMk/>
            <pc:sldMk cId="2133309828" sldId="2691"/>
            <ac:picMk id="43" creationId="{3C9D1614-3D89-6541-9D2A-8B93180DAD2F}"/>
          </ac:picMkLst>
        </pc:picChg>
        <pc:picChg chg="add del mod">
          <ac:chgData name="Stina Torell" userId="42ae74f8-9b92-4847-96bc-2e51e5bf7907" providerId="ADAL" clId="{8222E77C-B75B-4648-AAD8-E34B669EE4DB}" dt="2022-04-11T14:03:39.607" v="3568" actId="478"/>
          <ac:picMkLst>
            <pc:docMk/>
            <pc:sldMk cId="2133309828" sldId="2691"/>
            <ac:picMk id="44" creationId="{804AE950-0B7D-7743-B0CA-ECC12BC4BA1A}"/>
          </ac:picMkLst>
        </pc:picChg>
        <pc:picChg chg="add del mod">
          <ac:chgData name="Stina Torell" userId="42ae74f8-9b92-4847-96bc-2e51e5bf7907" providerId="ADAL" clId="{8222E77C-B75B-4648-AAD8-E34B669EE4DB}" dt="2022-04-11T14:03:59.949" v="3574" actId="478"/>
          <ac:picMkLst>
            <pc:docMk/>
            <pc:sldMk cId="2133309828" sldId="2691"/>
            <ac:picMk id="45" creationId="{2131EF69-81CC-C646-8F9A-E59002EE0F0F}"/>
          </ac:picMkLst>
        </pc:picChg>
        <pc:picChg chg="add del mod">
          <ac:chgData name="Stina Torell" userId="42ae74f8-9b92-4847-96bc-2e51e5bf7907" providerId="ADAL" clId="{8222E77C-B75B-4648-AAD8-E34B669EE4DB}" dt="2022-04-11T14:04:04.905" v="3576" actId="478"/>
          <ac:picMkLst>
            <pc:docMk/>
            <pc:sldMk cId="2133309828" sldId="2691"/>
            <ac:picMk id="46" creationId="{1FA6D34A-09FF-D64D-973D-DC302B46A778}"/>
          </ac:picMkLst>
        </pc:picChg>
        <pc:picChg chg="add mod">
          <ac:chgData name="Stina Torell" userId="42ae74f8-9b92-4847-96bc-2e51e5bf7907" providerId="ADAL" clId="{8222E77C-B75B-4648-AAD8-E34B669EE4DB}" dt="2022-04-11T14:15:20.180" v="3958" actId="1035"/>
          <ac:picMkLst>
            <pc:docMk/>
            <pc:sldMk cId="2133309828" sldId="2691"/>
            <ac:picMk id="50" creationId="{7DD1233B-48BF-4C4F-BC68-A2579EB1EE09}"/>
          </ac:picMkLst>
        </pc:picChg>
        <pc:picChg chg="add mod">
          <ac:chgData name="Stina Torell" userId="42ae74f8-9b92-4847-96bc-2e51e5bf7907" providerId="ADAL" clId="{8222E77C-B75B-4648-AAD8-E34B669EE4DB}" dt="2022-04-11T14:15:20.180" v="3958" actId="1035"/>
          <ac:picMkLst>
            <pc:docMk/>
            <pc:sldMk cId="2133309828" sldId="2691"/>
            <ac:picMk id="51" creationId="{25F9A94F-9E6F-D143-BB73-99277AFB6AA6}"/>
          </ac:picMkLst>
        </pc:picChg>
        <pc:picChg chg="add mod">
          <ac:chgData name="Stina Torell" userId="42ae74f8-9b92-4847-96bc-2e51e5bf7907" providerId="ADAL" clId="{8222E77C-B75B-4648-AAD8-E34B669EE4DB}" dt="2022-04-11T14:15:20.180" v="3958" actId="1035"/>
          <ac:picMkLst>
            <pc:docMk/>
            <pc:sldMk cId="2133309828" sldId="2691"/>
            <ac:picMk id="52" creationId="{C126C71D-031A-4E4C-A0ED-50608D4E3573}"/>
          </ac:picMkLst>
        </pc:picChg>
        <pc:picChg chg="add del mod">
          <ac:chgData name="Stina Torell" userId="42ae74f8-9b92-4847-96bc-2e51e5bf7907" providerId="ADAL" clId="{8222E77C-B75B-4648-AAD8-E34B669EE4DB}" dt="2022-04-11T14:12:26.173" v="3729" actId="478"/>
          <ac:picMkLst>
            <pc:docMk/>
            <pc:sldMk cId="2133309828" sldId="2691"/>
            <ac:picMk id="57" creationId="{C523D96D-8680-8C41-9603-EA9F2B972427}"/>
          </ac:picMkLst>
        </pc:picChg>
      </pc:sldChg>
      <pc:sldChg chg="addSp delSp modSp add del mod">
        <pc:chgData name="Stina Torell" userId="42ae74f8-9b92-4847-96bc-2e51e5bf7907" providerId="ADAL" clId="{8222E77C-B75B-4648-AAD8-E34B669EE4DB}" dt="2022-04-11T19:45:51.811" v="5611" actId="2696"/>
        <pc:sldMkLst>
          <pc:docMk/>
          <pc:sldMk cId="445654442" sldId="2692"/>
        </pc:sldMkLst>
        <pc:spChg chg="add del mod">
          <ac:chgData name="Stina Torell" userId="42ae74f8-9b92-4847-96bc-2e51e5bf7907" providerId="ADAL" clId="{8222E77C-B75B-4648-AAD8-E34B669EE4DB}" dt="2022-04-11T19:45:47.862" v="5610" actId="478"/>
          <ac:spMkLst>
            <pc:docMk/>
            <pc:sldMk cId="445654442" sldId="2692"/>
            <ac:spMk id="72" creationId="{97B04105-F92C-AA41-AF15-79C6D011B880}"/>
          </ac:spMkLst>
        </pc:spChg>
        <pc:spChg chg="mod">
          <ac:chgData name="Stina Torell" userId="42ae74f8-9b92-4847-96bc-2e51e5bf7907" providerId="ADAL" clId="{8222E77C-B75B-4648-AAD8-E34B669EE4DB}" dt="2022-04-11T19:45:43.916" v="5608" actId="1076"/>
          <ac:spMkLst>
            <pc:docMk/>
            <pc:sldMk cId="445654442" sldId="2692"/>
            <ac:spMk id="111" creationId="{83A5D7E2-F194-8641-BF37-440A5873B6C9}"/>
          </ac:spMkLst>
        </pc:spChg>
        <pc:spChg chg="del">
          <ac:chgData name="Stina Torell" userId="42ae74f8-9b92-4847-96bc-2e51e5bf7907" providerId="ADAL" clId="{8222E77C-B75B-4648-AAD8-E34B669EE4DB}" dt="2022-04-11T19:45:04.970" v="5595" actId="478"/>
          <ac:spMkLst>
            <pc:docMk/>
            <pc:sldMk cId="445654442" sldId="2692"/>
            <ac:spMk id="112" creationId="{EBC5AC3C-5549-5041-9BD2-9DB97D81E52F}"/>
          </ac:spMkLst>
        </pc:spChg>
        <pc:spChg chg="del">
          <ac:chgData name="Stina Torell" userId="42ae74f8-9b92-4847-96bc-2e51e5bf7907" providerId="ADAL" clId="{8222E77C-B75B-4648-AAD8-E34B669EE4DB}" dt="2022-04-11T19:45:04.970" v="5595" actId="478"/>
          <ac:spMkLst>
            <pc:docMk/>
            <pc:sldMk cId="445654442" sldId="2692"/>
            <ac:spMk id="113" creationId="{59A18E52-1833-B145-84C6-2F0F8666E4DB}"/>
          </ac:spMkLst>
        </pc:spChg>
        <pc:spChg chg="del">
          <ac:chgData name="Stina Torell" userId="42ae74f8-9b92-4847-96bc-2e51e5bf7907" providerId="ADAL" clId="{8222E77C-B75B-4648-AAD8-E34B669EE4DB}" dt="2022-04-11T19:45:04.970" v="5595" actId="478"/>
          <ac:spMkLst>
            <pc:docMk/>
            <pc:sldMk cId="445654442" sldId="2692"/>
            <ac:spMk id="114" creationId="{327F9D0B-09AC-724F-9C42-715FA91ABF16}"/>
          </ac:spMkLst>
        </pc:spChg>
        <pc:spChg chg="del">
          <ac:chgData name="Stina Torell" userId="42ae74f8-9b92-4847-96bc-2e51e5bf7907" providerId="ADAL" clId="{8222E77C-B75B-4648-AAD8-E34B669EE4DB}" dt="2022-04-11T19:45:04.970" v="5595" actId="478"/>
          <ac:spMkLst>
            <pc:docMk/>
            <pc:sldMk cId="445654442" sldId="2692"/>
            <ac:spMk id="115" creationId="{A8F2504C-E303-3C42-8BA4-76632289D1FE}"/>
          </ac:spMkLst>
        </pc:spChg>
        <pc:spChg chg="del mod">
          <ac:chgData name="Stina Torell" userId="42ae74f8-9b92-4847-96bc-2e51e5bf7907" providerId="ADAL" clId="{8222E77C-B75B-4648-AAD8-E34B669EE4DB}" dt="2022-04-11T19:45:38.658" v="5607" actId="478"/>
          <ac:spMkLst>
            <pc:docMk/>
            <pc:sldMk cId="445654442" sldId="2692"/>
            <ac:spMk id="116" creationId="{33D012A7-8C12-0F43-8473-128C10D46E95}"/>
          </ac:spMkLst>
        </pc:spChg>
        <pc:spChg chg="del">
          <ac:chgData name="Stina Torell" userId="42ae74f8-9b92-4847-96bc-2e51e5bf7907" providerId="ADAL" clId="{8222E77C-B75B-4648-AAD8-E34B669EE4DB}" dt="2022-04-11T19:45:04.970" v="5595" actId="478"/>
          <ac:spMkLst>
            <pc:docMk/>
            <pc:sldMk cId="445654442" sldId="2692"/>
            <ac:spMk id="117" creationId="{AB7AF5B9-684B-AF45-AAB1-6A3A918C239D}"/>
          </ac:spMkLst>
        </pc:spChg>
        <pc:spChg chg="del">
          <ac:chgData name="Stina Torell" userId="42ae74f8-9b92-4847-96bc-2e51e5bf7907" providerId="ADAL" clId="{8222E77C-B75B-4648-AAD8-E34B669EE4DB}" dt="2022-04-11T19:45:04.970" v="5595" actId="478"/>
          <ac:spMkLst>
            <pc:docMk/>
            <pc:sldMk cId="445654442" sldId="2692"/>
            <ac:spMk id="118" creationId="{24688AF3-52E3-A043-950D-97FAEFFD5715}"/>
          </ac:spMkLst>
        </pc:spChg>
        <pc:spChg chg="del">
          <ac:chgData name="Stina Torell" userId="42ae74f8-9b92-4847-96bc-2e51e5bf7907" providerId="ADAL" clId="{8222E77C-B75B-4648-AAD8-E34B669EE4DB}" dt="2022-04-11T19:45:04.970" v="5595" actId="478"/>
          <ac:spMkLst>
            <pc:docMk/>
            <pc:sldMk cId="445654442" sldId="2692"/>
            <ac:spMk id="119" creationId="{497FDDA0-0CAF-2747-856A-7315382D2022}"/>
          </ac:spMkLst>
        </pc:spChg>
        <pc:spChg chg="del">
          <ac:chgData name="Stina Torell" userId="42ae74f8-9b92-4847-96bc-2e51e5bf7907" providerId="ADAL" clId="{8222E77C-B75B-4648-AAD8-E34B669EE4DB}" dt="2022-04-11T19:45:04.970" v="5595" actId="478"/>
          <ac:spMkLst>
            <pc:docMk/>
            <pc:sldMk cId="445654442" sldId="2692"/>
            <ac:spMk id="120" creationId="{07333F06-CA1E-354B-BF58-68978E1BABA4}"/>
          </ac:spMkLst>
        </pc:spChg>
      </pc:sldChg>
      <pc:sldChg chg="addSp delSp modSp add del mod ord">
        <pc:chgData name="Stina Torell" userId="42ae74f8-9b92-4847-96bc-2e51e5bf7907" providerId="ADAL" clId="{8222E77C-B75B-4648-AAD8-E34B669EE4DB}" dt="2022-04-11T20:43:40.324" v="7147" actId="2696"/>
        <pc:sldMkLst>
          <pc:docMk/>
          <pc:sldMk cId="2191813685" sldId="2692"/>
        </pc:sldMkLst>
        <pc:spChg chg="add mod">
          <ac:chgData name="Stina Torell" userId="42ae74f8-9b92-4847-96bc-2e51e5bf7907" providerId="ADAL" clId="{8222E77C-B75B-4648-AAD8-E34B669EE4DB}" dt="2022-04-11T20:19:49.035" v="6343" actId="1036"/>
          <ac:spMkLst>
            <pc:docMk/>
            <pc:sldMk cId="2191813685" sldId="2692"/>
            <ac:spMk id="3" creationId="{700E9532-132D-7E43-B551-8AF0592C12A1}"/>
          </ac:spMkLst>
        </pc:spChg>
        <pc:spChg chg="add del mod">
          <ac:chgData name="Stina Torell" userId="42ae74f8-9b92-4847-96bc-2e51e5bf7907" providerId="ADAL" clId="{8222E77C-B75B-4648-AAD8-E34B669EE4DB}" dt="2022-04-11T20:20:04.940" v="6345" actId="767"/>
          <ac:spMkLst>
            <pc:docMk/>
            <pc:sldMk cId="2191813685" sldId="2692"/>
            <ac:spMk id="4" creationId="{4C67CA80-5372-7B46-9428-E3DFCC7D6711}"/>
          </ac:spMkLst>
        </pc:spChg>
        <pc:spChg chg="add mod">
          <ac:chgData name="Stina Torell" userId="42ae74f8-9b92-4847-96bc-2e51e5bf7907" providerId="ADAL" clId="{8222E77C-B75B-4648-AAD8-E34B669EE4DB}" dt="2022-04-11T20:20:28.758" v="6356" actId="20577"/>
          <ac:spMkLst>
            <pc:docMk/>
            <pc:sldMk cId="2191813685" sldId="2692"/>
            <ac:spMk id="5" creationId="{2E0CCD66-E4EE-894D-9392-ACEB6B2067A0}"/>
          </ac:spMkLst>
        </pc:spChg>
        <pc:spChg chg="del mod">
          <ac:chgData name="Stina Torell" userId="42ae74f8-9b92-4847-96bc-2e51e5bf7907" providerId="ADAL" clId="{8222E77C-B75B-4648-AAD8-E34B669EE4DB}" dt="2022-04-11T20:09:10.759" v="6151" actId="478"/>
          <ac:spMkLst>
            <pc:docMk/>
            <pc:sldMk cId="2191813685" sldId="2692"/>
            <ac:spMk id="7" creationId="{276A22FF-7D6C-A747-ACE1-79568D1ADD00}"/>
          </ac:spMkLst>
        </pc:spChg>
        <pc:spChg chg="del">
          <ac:chgData name="Stina Torell" userId="42ae74f8-9b92-4847-96bc-2e51e5bf7907" providerId="ADAL" clId="{8222E77C-B75B-4648-AAD8-E34B669EE4DB}" dt="2022-04-11T20:09:12.840" v="6152" actId="478"/>
          <ac:spMkLst>
            <pc:docMk/>
            <pc:sldMk cId="2191813685" sldId="2692"/>
            <ac:spMk id="8" creationId="{5C7ED33D-4A68-E140-B37F-3F7D1F610F8A}"/>
          </ac:spMkLst>
        </pc:spChg>
        <pc:spChg chg="del">
          <ac:chgData name="Stina Torell" userId="42ae74f8-9b92-4847-96bc-2e51e5bf7907" providerId="ADAL" clId="{8222E77C-B75B-4648-AAD8-E34B669EE4DB}" dt="2022-04-11T20:09:14.492" v="6153" actId="478"/>
          <ac:spMkLst>
            <pc:docMk/>
            <pc:sldMk cId="2191813685" sldId="2692"/>
            <ac:spMk id="9" creationId="{E0E70687-BD66-E045-BD67-D0A5827C9ABF}"/>
          </ac:spMkLst>
        </pc:spChg>
        <pc:spChg chg="del">
          <ac:chgData name="Stina Torell" userId="42ae74f8-9b92-4847-96bc-2e51e5bf7907" providerId="ADAL" clId="{8222E77C-B75B-4648-AAD8-E34B669EE4DB}" dt="2022-04-11T20:09:15.878" v="6154" actId="478"/>
          <ac:spMkLst>
            <pc:docMk/>
            <pc:sldMk cId="2191813685" sldId="2692"/>
            <ac:spMk id="10" creationId="{8FCC60FA-8E3F-534B-8884-D45C3C80BC99}"/>
          </ac:spMkLst>
        </pc:spChg>
        <pc:spChg chg="add del mod">
          <ac:chgData name="Stina Torell" userId="42ae74f8-9b92-4847-96bc-2e51e5bf7907" providerId="ADAL" clId="{8222E77C-B75B-4648-AAD8-E34B669EE4DB}" dt="2022-04-11T20:14:38.723" v="6189" actId="478"/>
          <ac:spMkLst>
            <pc:docMk/>
            <pc:sldMk cId="2191813685" sldId="2692"/>
            <ac:spMk id="11" creationId="{62D4C5CE-EA8F-9549-9A9F-1094F7E4B6FB}"/>
          </ac:spMkLst>
        </pc:spChg>
        <pc:spChg chg="mod">
          <ac:chgData name="Stina Torell" userId="42ae74f8-9b92-4847-96bc-2e51e5bf7907" providerId="ADAL" clId="{8222E77C-B75B-4648-AAD8-E34B669EE4DB}" dt="2022-04-11T20:09:22.181" v="6156" actId="14100"/>
          <ac:spMkLst>
            <pc:docMk/>
            <pc:sldMk cId="2191813685" sldId="2692"/>
            <ac:spMk id="12" creationId="{A9519C33-BD01-4342-AEDC-2580C0EABE21}"/>
          </ac:spMkLst>
        </pc:spChg>
        <pc:spChg chg="add del mod">
          <ac:chgData name="Stina Torell" userId="42ae74f8-9b92-4847-96bc-2e51e5bf7907" providerId="ADAL" clId="{8222E77C-B75B-4648-AAD8-E34B669EE4DB}" dt="2022-04-11T20:14:29.652" v="6185" actId="478"/>
          <ac:spMkLst>
            <pc:docMk/>
            <pc:sldMk cId="2191813685" sldId="2692"/>
            <ac:spMk id="13" creationId="{25401FDE-F320-684B-9E83-D81355FF18FD}"/>
          </ac:spMkLst>
        </pc:spChg>
        <pc:spChg chg="add del mod">
          <ac:chgData name="Stina Torell" userId="42ae74f8-9b92-4847-96bc-2e51e5bf7907" providerId="ADAL" clId="{8222E77C-B75B-4648-AAD8-E34B669EE4DB}" dt="2022-04-11T20:14:31.310" v="6186" actId="478"/>
          <ac:spMkLst>
            <pc:docMk/>
            <pc:sldMk cId="2191813685" sldId="2692"/>
            <ac:spMk id="14" creationId="{7C44631D-3EA6-874B-9153-F78E26FCA065}"/>
          </ac:spMkLst>
        </pc:spChg>
        <pc:spChg chg="add mod">
          <ac:chgData name="Stina Torell" userId="42ae74f8-9b92-4847-96bc-2e51e5bf7907" providerId="ADAL" clId="{8222E77C-B75B-4648-AAD8-E34B669EE4DB}" dt="2022-04-11T20:19:49.035" v="6343" actId="1036"/>
          <ac:spMkLst>
            <pc:docMk/>
            <pc:sldMk cId="2191813685" sldId="2692"/>
            <ac:spMk id="15" creationId="{0E122CC0-82CD-434A-A094-F3D8C3DB55C7}"/>
          </ac:spMkLst>
        </pc:spChg>
        <pc:spChg chg="add mod">
          <ac:chgData name="Stina Torell" userId="42ae74f8-9b92-4847-96bc-2e51e5bf7907" providerId="ADAL" clId="{8222E77C-B75B-4648-AAD8-E34B669EE4DB}" dt="2022-04-11T20:19:49.035" v="6343" actId="1036"/>
          <ac:spMkLst>
            <pc:docMk/>
            <pc:sldMk cId="2191813685" sldId="2692"/>
            <ac:spMk id="16" creationId="{E097AC60-2423-B746-ADE4-FEBDB6D270AF}"/>
          </ac:spMkLst>
        </pc:spChg>
        <pc:spChg chg="add mod">
          <ac:chgData name="Stina Torell" userId="42ae74f8-9b92-4847-96bc-2e51e5bf7907" providerId="ADAL" clId="{8222E77C-B75B-4648-AAD8-E34B669EE4DB}" dt="2022-04-11T20:19:49.035" v="6343" actId="1036"/>
          <ac:spMkLst>
            <pc:docMk/>
            <pc:sldMk cId="2191813685" sldId="2692"/>
            <ac:spMk id="17" creationId="{116CF1AD-4846-FD48-9C33-82E516A7324C}"/>
          </ac:spMkLst>
        </pc:spChg>
        <pc:spChg chg="add mod">
          <ac:chgData name="Stina Torell" userId="42ae74f8-9b92-4847-96bc-2e51e5bf7907" providerId="ADAL" clId="{8222E77C-B75B-4648-AAD8-E34B669EE4DB}" dt="2022-04-11T20:20:57.938" v="6365" actId="20577"/>
          <ac:spMkLst>
            <pc:docMk/>
            <pc:sldMk cId="2191813685" sldId="2692"/>
            <ac:spMk id="18" creationId="{A174D7E0-E53F-E540-B0D9-2C6A008AB643}"/>
          </ac:spMkLst>
        </pc:spChg>
        <pc:spChg chg="add mod">
          <ac:chgData name="Stina Torell" userId="42ae74f8-9b92-4847-96bc-2e51e5bf7907" providerId="ADAL" clId="{8222E77C-B75B-4648-AAD8-E34B669EE4DB}" dt="2022-04-11T20:21:07.134" v="6372" actId="20577"/>
          <ac:spMkLst>
            <pc:docMk/>
            <pc:sldMk cId="2191813685" sldId="2692"/>
            <ac:spMk id="19" creationId="{80EB7FDC-A17B-3A4A-B272-DCAF85F7FB2C}"/>
          </ac:spMkLst>
        </pc:spChg>
        <pc:spChg chg="add mod">
          <ac:chgData name="Stina Torell" userId="42ae74f8-9b92-4847-96bc-2e51e5bf7907" providerId="ADAL" clId="{8222E77C-B75B-4648-AAD8-E34B669EE4DB}" dt="2022-04-11T20:21:22.193" v="6400" actId="14100"/>
          <ac:spMkLst>
            <pc:docMk/>
            <pc:sldMk cId="2191813685" sldId="2692"/>
            <ac:spMk id="20" creationId="{5239D337-9035-264F-BEAF-AC351E405AB9}"/>
          </ac:spMkLst>
        </pc:spChg>
      </pc:sldChg>
      <pc:sldChg chg="add del">
        <pc:chgData name="Stina Torell" userId="42ae74f8-9b92-4847-96bc-2e51e5bf7907" providerId="ADAL" clId="{8222E77C-B75B-4648-AAD8-E34B669EE4DB}" dt="2022-04-11T20:12:49.538" v="6163"/>
        <pc:sldMkLst>
          <pc:docMk/>
          <pc:sldMk cId="123137683" sldId="2693"/>
        </pc:sldMkLst>
      </pc:sldChg>
      <pc:sldChg chg="addSp delSp modSp add del mod modShow">
        <pc:chgData name="Stina Torell" userId="42ae74f8-9b92-4847-96bc-2e51e5bf7907" providerId="ADAL" clId="{8222E77C-B75B-4648-AAD8-E34B669EE4DB}" dt="2022-04-14T10:03:37.997" v="8907" actId="2696"/>
        <pc:sldMkLst>
          <pc:docMk/>
          <pc:sldMk cId="3414406768" sldId="2693"/>
        </pc:sldMkLst>
        <pc:spChg chg="mod">
          <ac:chgData name="Stina Torell" userId="42ae74f8-9b92-4847-96bc-2e51e5bf7907" providerId="ADAL" clId="{8222E77C-B75B-4648-AAD8-E34B669EE4DB}" dt="2022-04-12T07:20:04.106" v="7551" actId="1076"/>
          <ac:spMkLst>
            <pc:docMk/>
            <pc:sldMk cId="3414406768" sldId="2693"/>
            <ac:spMk id="2" creationId="{BB2173DD-1C6A-524C-AC25-0A6373F21E27}"/>
          </ac:spMkLst>
        </pc:spChg>
        <pc:spChg chg="mod">
          <ac:chgData name="Stina Torell" userId="42ae74f8-9b92-4847-96bc-2e51e5bf7907" providerId="ADAL" clId="{8222E77C-B75B-4648-AAD8-E34B669EE4DB}" dt="2022-04-11T20:31:36.064" v="6647" actId="1037"/>
          <ac:spMkLst>
            <pc:docMk/>
            <pc:sldMk cId="3414406768" sldId="2693"/>
            <ac:spMk id="3" creationId="{700E9532-132D-7E43-B551-8AF0592C12A1}"/>
          </ac:spMkLst>
        </pc:spChg>
        <pc:spChg chg="add mod">
          <ac:chgData name="Stina Torell" userId="42ae74f8-9b92-4847-96bc-2e51e5bf7907" providerId="ADAL" clId="{8222E77C-B75B-4648-AAD8-E34B669EE4DB}" dt="2022-04-11T20:42:52.331" v="7140" actId="3064"/>
          <ac:spMkLst>
            <pc:docMk/>
            <pc:sldMk cId="3414406768" sldId="2693"/>
            <ac:spMk id="4" creationId="{69D2A4B3-2406-7D4A-B44D-9165A0C4F601}"/>
          </ac:spMkLst>
        </pc:spChg>
        <pc:spChg chg="mod">
          <ac:chgData name="Stina Torell" userId="42ae74f8-9b92-4847-96bc-2e51e5bf7907" providerId="ADAL" clId="{8222E77C-B75B-4648-AAD8-E34B669EE4DB}" dt="2022-04-11T20:43:32.860" v="7146" actId="1036"/>
          <ac:spMkLst>
            <pc:docMk/>
            <pc:sldMk cId="3414406768" sldId="2693"/>
            <ac:spMk id="5" creationId="{2E0CCD66-E4EE-894D-9392-ACEB6B2067A0}"/>
          </ac:spMkLst>
        </pc:spChg>
        <pc:spChg chg="add del mod">
          <ac:chgData name="Stina Torell" userId="42ae74f8-9b92-4847-96bc-2e51e5bf7907" providerId="ADAL" clId="{8222E77C-B75B-4648-AAD8-E34B669EE4DB}" dt="2022-04-11T20:27:55.620" v="6553"/>
          <ac:spMkLst>
            <pc:docMk/>
            <pc:sldMk cId="3414406768" sldId="2693"/>
            <ac:spMk id="6" creationId="{F5FBBE31-C3AB-0641-A402-051DC5CB9A65}"/>
          </ac:spMkLst>
        </pc:spChg>
        <pc:spChg chg="add mod">
          <ac:chgData name="Stina Torell" userId="42ae74f8-9b92-4847-96bc-2e51e5bf7907" providerId="ADAL" clId="{8222E77C-B75B-4648-AAD8-E34B669EE4DB}" dt="2022-04-11T20:31:36.064" v="6647" actId="1037"/>
          <ac:spMkLst>
            <pc:docMk/>
            <pc:sldMk cId="3414406768" sldId="2693"/>
            <ac:spMk id="7" creationId="{167D5B5A-5FBA-7F4B-9467-7B33DD4566C6}"/>
          </ac:spMkLst>
        </pc:spChg>
        <pc:spChg chg="mod">
          <ac:chgData name="Stina Torell" userId="42ae74f8-9b92-4847-96bc-2e51e5bf7907" providerId="ADAL" clId="{8222E77C-B75B-4648-AAD8-E34B669EE4DB}" dt="2022-04-11T20:44:37.175" v="7151" actId="207"/>
          <ac:spMkLst>
            <pc:docMk/>
            <pc:sldMk cId="3414406768" sldId="2693"/>
            <ac:spMk id="12" creationId="{A9519C33-BD01-4342-AEDC-2580C0EABE21}"/>
          </ac:spMkLst>
        </pc:spChg>
        <pc:spChg chg="add mod">
          <ac:chgData name="Stina Torell" userId="42ae74f8-9b92-4847-96bc-2e51e5bf7907" providerId="ADAL" clId="{8222E77C-B75B-4648-AAD8-E34B669EE4DB}" dt="2022-04-11T20:38:53.014" v="7018" actId="1037"/>
          <ac:spMkLst>
            <pc:docMk/>
            <pc:sldMk cId="3414406768" sldId="2693"/>
            <ac:spMk id="13" creationId="{D842D4DD-0833-9D43-A07E-418D710D235B}"/>
          </ac:spMkLst>
        </pc:spChg>
        <pc:spChg chg="add mod">
          <ac:chgData name="Stina Torell" userId="42ae74f8-9b92-4847-96bc-2e51e5bf7907" providerId="ADAL" clId="{8222E77C-B75B-4648-AAD8-E34B669EE4DB}" dt="2022-04-11T20:38:53.014" v="7018" actId="1037"/>
          <ac:spMkLst>
            <pc:docMk/>
            <pc:sldMk cId="3414406768" sldId="2693"/>
            <ac:spMk id="14" creationId="{AD1EFFB4-0FF6-FE47-A087-E6F30B1A22F9}"/>
          </ac:spMkLst>
        </pc:spChg>
        <pc:spChg chg="mod">
          <ac:chgData name="Stina Torell" userId="42ae74f8-9b92-4847-96bc-2e51e5bf7907" providerId="ADAL" clId="{8222E77C-B75B-4648-AAD8-E34B669EE4DB}" dt="2022-04-11T20:31:36.064" v="6647" actId="1037"/>
          <ac:spMkLst>
            <pc:docMk/>
            <pc:sldMk cId="3414406768" sldId="2693"/>
            <ac:spMk id="15" creationId="{0E122CC0-82CD-434A-A094-F3D8C3DB55C7}"/>
          </ac:spMkLst>
        </pc:spChg>
        <pc:spChg chg="del">
          <ac:chgData name="Stina Torell" userId="42ae74f8-9b92-4847-96bc-2e51e5bf7907" providerId="ADAL" clId="{8222E77C-B75B-4648-AAD8-E34B669EE4DB}" dt="2022-04-11T20:22:11.784" v="6402" actId="478"/>
          <ac:spMkLst>
            <pc:docMk/>
            <pc:sldMk cId="3414406768" sldId="2693"/>
            <ac:spMk id="16" creationId="{E097AC60-2423-B746-ADE4-FEBDB6D270AF}"/>
          </ac:spMkLst>
        </pc:spChg>
        <pc:spChg chg="del">
          <ac:chgData name="Stina Torell" userId="42ae74f8-9b92-4847-96bc-2e51e5bf7907" providerId="ADAL" clId="{8222E77C-B75B-4648-AAD8-E34B669EE4DB}" dt="2022-04-11T20:22:12.909" v="6403" actId="478"/>
          <ac:spMkLst>
            <pc:docMk/>
            <pc:sldMk cId="3414406768" sldId="2693"/>
            <ac:spMk id="17" creationId="{116CF1AD-4846-FD48-9C33-82E516A7324C}"/>
          </ac:spMkLst>
        </pc:spChg>
        <pc:spChg chg="mod">
          <ac:chgData name="Stina Torell" userId="42ae74f8-9b92-4847-96bc-2e51e5bf7907" providerId="ADAL" clId="{8222E77C-B75B-4648-AAD8-E34B669EE4DB}" dt="2022-04-11T20:31:36.064" v="6647" actId="1037"/>
          <ac:spMkLst>
            <pc:docMk/>
            <pc:sldMk cId="3414406768" sldId="2693"/>
            <ac:spMk id="18" creationId="{A174D7E0-E53F-E540-B0D9-2C6A008AB643}"/>
          </ac:spMkLst>
        </pc:spChg>
        <pc:spChg chg="del">
          <ac:chgData name="Stina Torell" userId="42ae74f8-9b92-4847-96bc-2e51e5bf7907" providerId="ADAL" clId="{8222E77C-B75B-4648-AAD8-E34B669EE4DB}" dt="2022-04-11T20:22:18.424" v="6406" actId="478"/>
          <ac:spMkLst>
            <pc:docMk/>
            <pc:sldMk cId="3414406768" sldId="2693"/>
            <ac:spMk id="19" creationId="{80EB7FDC-A17B-3A4A-B272-DCAF85F7FB2C}"/>
          </ac:spMkLst>
        </pc:spChg>
        <pc:spChg chg="del mod">
          <ac:chgData name="Stina Torell" userId="42ae74f8-9b92-4847-96bc-2e51e5bf7907" providerId="ADAL" clId="{8222E77C-B75B-4648-AAD8-E34B669EE4DB}" dt="2022-04-11T20:22:14.963" v="6405" actId="478"/>
          <ac:spMkLst>
            <pc:docMk/>
            <pc:sldMk cId="3414406768" sldId="2693"/>
            <ac:spMk id="20" creationId="{5239D337-9035-264F-BEAF-AC351E405AB9}"/>
          </ac:spMkLst>
        </pc:spChg>
        <pc:spChg chg="add mod">
          <ac:chgData name="Stina Torell" userId="42ae74f8-9b92-4847-96bc-2e51e5bf7907" providerId="ADAL" clId="{8222E77C-B75B-4648-AAD8-E34B669EE4DB}" dt="2022-04-11T20:38:53.014" v="7018" actId="1037"/>
          <ac:spMkLst>
            <pc:docMk/>
            <pc:sldMk cId="3414406768" sldId="2693"/>
            <ac:spMk id="21" creationId="{B40D2894-EA5F-C646-A4F1-1E914D6C5F1F}"/>
          </ac:spMkLst>
        </pc:spChg>
        <pc:spChg chg="add mod">
          <ac:chgData name="Stina Torell" userId="42ae74f8-9b92-4847-96bc-2e51e5bf7907" providerId="ADAL" clId="{8222E77C-B75B-4648-AAD8-E34B669EE4DB}" dt="2022-04-11T20:42:52.331" v="7140" actId="3064"/>
          <ac:spMkLst>
            <pc:docMk/>
            <pc:sldMk cId="3414406768" sldId="2693"/>
            <ac:spMk id="22" creationId="{A1492D10-683C-644B-97F8-D82753A23D19}"/>
          </ac:spMkLst>
        </pc:spChg>
        <pc:spChg chg="add mod">
          <ac:chgData name="Stina Torell" userId="42ae74f8-9b92-4847-96bc-2e51e5bf7907" providerId="ADAL" clId="{8222E77C-B75B-4648-AAD8-E34B669EE4DB}" dt="2022-04-11T20:42:52.331" v="7140" actId="3064"/>
          <ac:spMkLst>
            <pc:docMk/>
            <pc:sldMk cId="3414406768" sldId="2693"/>
            <ac:spMk id="23" creationId="{36CF2A7E-352C-3346-9A53-754874E3FD71}"/>
          </ac:spMkLst>
        </pc:spChg>
        <pc:spChg chg="add mod">
          <ac:chgData name="Stina Torell" userId="42ae74f8-9b92-4847-96bc-2e51e5bf7907" providerId="ADAL" clId="{8222E77C-B75B-4648-AAD8-E34B669EE4DB}" dt="2022-04-11T20:43:07.869" v="7144" actId="20577"/>
          <ac:spMkLst>
            <pc:docMk/>
            <pc:sldMk cId="3414406768" sldId="2693"/>
            <ac:spMk id="24" creationId="{E80FB3A9-A206-0441-B38D-FF15013FBBCA}"/>
          </ac:spMkLst>
        </pc:spChg>
        <pc:spChg chg="add mod">
          <ac:chgData name="Stina Torell" userId="42ae74f8-9b92-4847-96bc-2e51e5bf7907" providerId="ADAL" clId="{8222E77C-B75B-4648-AAD8-E34B669EE4DB}" dt="2022-04-11T20:38:53.014" v="7018" actId="1037"/>
          <ac:spMkLst>
            <pc:docMk/>
            <pc:sldMk cId="3414406768" sldId="2693"/>
            <ac:spMk id="25" creationId="{106028F6-4598-354A-8C46-4BC363BE9CC6}"/>
          </ac:spMkLst>
        </pc:spChg>
        <pc:spChg chg="add mod">
          <ac:chgData name="Stina Torell" userId="42ae74f8-9b92-4847-96bc-2e51e5bf7907" providerId="ADAL" clId="{8222E77C-B75B-4648-AAD8-E34B669EE4DB}" dt="2022-04-11T20:33:12.639" v="6739" actId="20577"/>
          <ac:spMkLst>
            <pc:docMk/>
            <pc:sldMk cId="3414406768" sldId="2693"/>
            <ac:spMk id="26" creationId="{D523722F-C206-2542-A9D0-7A770C540DED}"/>
          </ac:spMkLst>
        </pc:spChg>
        <pc:spChg chg="add mod">
          <ac:chgData name="Stina Torell" userId="42ae74f8-9b92-4847-96bc-2e51e5bf7907" providerId="ADAL" clId="{8222E77C-B75B-4648-AAD8-E34B669EE4DB}" dt="2022-04-11T20:38:53.014" v="7018" actId="1037"/>
          <ac:spMkLst>
            <pc:docMk/>
            <pc:sldMk cId="3414406768" sldId="2693"/>
            <ac:spMk id="27" creationId="{050856C1-35EC-CA47-A482-05C964DC4E19}"/>
          </ac:spMkLst>
        </pc:spChg>
        <pc:spChg chg="add mod">
          <ac:chgData name="Stina Torell" userId="42ae74f8-9b92-4847-96bc-2e51e5bf7907" providerId="ADAL" clId="{8222E77C-B75B-4648-AAD8-E34B669EE4DB}" dt="2022-04-11T20:38:53.014" v="7018" actId="1037"/>
          <ac:spMkLst>
            <pc:docMk/>
            <pc:sldMk cId="3414406768" sldId="2693"/>
            <ac:spMk id="28" creationId="{C551AD2B-AEE5-2F4F-9575-A848E7C843D3}"/>
          </ac:spMkLst>
        </pc:spChg>
        <pc:picChg chg="add del mod">
          <ac:chgData name="Stina Torell" userId="42ae74f8-9b92-4847-96bc-2e51e5bf7907" providerId="ADAL" clId="{8222E77C-B75B-4648-AAD8-E34B669EE4DB}" dt="2022-04-11T20:29:00.761" v="6557" actId="478"/>
          <ac:picMkLst>
            <pc:docMk/>
            <pc:sldMk cId="3414406768" sldId="2693"/>
            <ac:picMk id="4098" creationId="{FAB946F9-0EE0-C94A-A862-DE057127F606}"/>
          </ac:picMkLst>
        </pc:picChg>
      </pc:sldChg>
      <pc:sldChg chg="modSp mod addCm">
        <pc:chgData name="Stina Torell" userId="42ae74f8-9b92-4847-96bc-2e51e5bf7907" providerId="ADAL" clId="{8222E77C-B75B-4648-AAD8-E34B669EE4DB}" dt="2022-04-14T10:02:30.642" v="8905"/>
        <pc:sldMkLst>
          <pc:docMk/>
          <pc:sldMk cId="205438254" sldId="2694"/>
        </pc:sldMkLst>
        <pc:spChg chg="mod">
          <ac:chgData name="Stina Torell" userId="42ae74f8-9b92-4847-96bc-2e51e5bf7907" providerId="ADAL" clId="{8222E77C-B75B-4648-AAD8-E34B669EE4DB}" dt="2022-04-14T10:02:11.463" v="8904" actId="14100"/>
          <ac:spMkLst>
            <pc:docMk/>
            <pc:sldMk cId="205438254" sldId="2694"/>
            <ac:spMk id="2" creationId="{914A8A11-B278-296B-1ED1-3CB10DED3A7F}"/>
          </ac:spMkLst>
        </pc:spChg>
      </pc:sldChg>
      <pc:sldChg chg="addSp delSp modSp add del mod">
        <pc:chgData name="Stina Torell" userId="42ae74f8-9b92-4847-96bc-2e51e5bf7907" providerId="ADAL" clId="{8222E77C-B75B-4648-AAD8-E34B669EE4DB}" dt="2022-04-12T07:11:16.928" v="7368" actId="2696"/>
        <pc:sldMkLst>
          <pc:docMk/>
          <pc:sldMk cId="2042777484" sldId="2694"/>
        </pc:sldMkLst>
        <pc:spChg chg="add del mod">
          <ac:chgData name="Stina Torell" userId="42ae74f8-9b92-4847-96bc-2e51e5bf7907" providerId="ADAL" clId="{8222E77C-B75B-4648-AAD8-E34B669EE4DB}" dt="2022-04-12T07:03:52.515" v="7221" actId="11529"/>
          <ac:spMkLst>
            <pc:docMk/>
            <pc:sldMk cId="2042777484" sldId="2694"/>
            <ac:spMk id="3" creationId="{F6795BE7-8CB2-7043-9F1D-6E9607958877}"/>
          </ac:spMkLst>
        </pc:spChg>
        <pc:spChg chg="mod">
          <ac:chgData name="Stina Torell" userId="42ae74f8-9b92-4847-96bc-2e51e5bf7907" providerId="ADAL" clId="{8222E77C-B75B-4648-AAD8-E34B669EE4DB}" dt="2022-04-12T06:57:20.873" v="7216" actId="120"/>
          <ac:spMkLst>
            <pc:docMk/>
            <pc:sldMk cId="2042777484" sldId="2694"/>
            <ac:spMk id="4" creationId="{B762F0CB-9C15-3043-AA4B-55C649CFCB70}"/>
          </ac:spMkLst>
        </pc:spChg>
        <pc:spChg chg="del">
          <ac:chgData name="Stina Torell" userId="42ae74f8-9b92-4847-96bc-2e51e5bf7907" providerId="ADAL" clId="{8222E77C-B75B-4648-AAD8-E34B669EE4DB}" dt="2022-04-12T06:52:50.500" v="7161" actId="478"/>
          <ac:spMkLst>
            <pc:docMk/>
            <pc:sldMk cId="2042777484" sldId="2694"/>
            <ac:spMk id="7" creationId="{D9C68DE9-7CB1-7946-905D-9271DE896F06}"/>
          </ac:spMkLst>
        </pc:spChg>
        <pc:spChg chg="del">
          <ac:chgData name="Stina Torell" userId="42ae74f8-9b92-4847-96bc-2e51e5bf7907" providerId="ADAL" clId="{8222E77C-B75B-4648-AAD8-E34B669EE4DB}" dt="2022-04-12T06:53:08.886" v="7162" actId="478"/>
          <ac:spMkLst>
            <pc:docMk/>
            <pc:sldMk cId="2042777484" sldId="2694"/>
            <ac:spMk id="9" creationId="{1AFFBB22-0A57-AC4F-992C-153E397DC320}"/>
          </ac:spMkLst>
        </pc:spChg>
        <pc:spChg chg="del mod">
          <ac:chgData name="Stina Torell" userId="42ae74f8-9b92-4847-96bc-2e51e5bf7907" providerId="ADAL" clId="{8222E77C-B75B-4648-AAD8-E34B669EE4DB}" dt="2022-04-12T06:52:47.449" v="7160" actId="478"/>
          <ac:spMkLst>
            <pc:docMk/>
            <pc:sldMk cId="2042777484" sldId="2694"/>
            <ac:spMk id="10" creationId="{397B7F34-5DB3-8948-9AAB-A2D72A49DC28}"/>
          </ac:spMkLst>
        </pc:spChg>
        <pc:spChg chg="del">
          <ac:chgData name="Stina Torell" userId="42ae74f8-9b92-4847-96bc-2e51e5bf7907" providerId="ADAL" clId="{8222E77C-B75B-4648-AAD8-E34B669EE4DB}" dt="2022-04-12T06:52:45.504" v="7158" actId="478"/>
          <ac:spMkLst>
            <pc:docMk/>
            <pc:sldMk cId="2042777484" sldId="2694"/>
            <ac:spMk id="11" creationId="{F638904B-D90E-BE4B-A1C0-DCCEF080F2C8}"/>
          </ac:spMkLst>
        </pc:spChg>
        <pc:spChg chg="mod">
          <ac:chgData name="Stina Torell" userId="42ae74f8-9b92-4847-96bc-2e51e5bf7907" providerId="ADAL" clId="{8222E77C-B75B-4648-AAD8-E34B669EE4DB}" dt="2022-04-12T06:56:25.673" v="7215" actId="1076"/>
          <ac:spMkLst>
            <pc:docMk/>
            <pc:sldMk cId="2042777484" sldId="2694"/>
            <ac:spMk id="12" creationId="{362C403B-2FD2-684C-826D-A30F08208589}"/>
          </ac:spMkLst>
        </pc:spChg>
        <pc:spChg chg="mod">
          <ac:chgData name="Stina Torell" userId="42ae74f8-9b92-4847-96bc-2e51e5bf7907" providerId="ADAL" clId="{8222E77C-B75B-4648-AAD8-E34B669EE4DB}" dt="2022-04-12T06:56:04.811" v="7209" actId="1076"/>
          <ac:spMkLst>
            <pc:docMk/>
            <pc:sldMk cId="2042777484" sldId="2694"/>
            <ac:spMk id="13" creationId="{B3039C1B-88E9-8A4C-BE02-D53C8E9B0CDD}"/>
          </ac:spMkLst>
        </pc:spChg>
        <pc:spChg chg="mod">
          <ac:chgData name="Stina Torell" userId="42ae74f8-9b92-4847-96bc-2e51e5bf7907" providerId="ADAL" clId="{8222E77C-B75B-4648-AAD8-E34B669EE4DB}" dt="2022-04-12T06:56:11.211" v="7210" actId="1076"/>
          <ac:spMkLst>
            <pc:docMk/>
            <pc:sldMk cId="2042777484" sldId="2694"/>
            <ac:spMk id="14" creationId="{586339D7-D0B9-604C-BECD-96D3F7274F41}"/>
          </ac:spMkLst>
        </pc:spChg>
        <pc:spChg chg="mod">
          <ac:chgData name="Stina Torell" userId="42ae74f8-9b92-4847-96bc-2e51e5bf7907" providerId="ADAL" clId="{8222E77C-B75B-4648-AAD8-E34B669EE4DB}" dt="2022-04-12T06:57:54.231" v="7218" actId="1076"/>
          <ac:spMkLst>
            <pc:docMk/>
            <pc:sldMk cId="2042777484" sldId="2694"/>
            <ac:spMk id="15" creationId="{D95B5BA4-53DD-D948-9760-2CF44B6268B9}"/>
          </ac:spMkLst>
        </pc:spChg>
      </pc:sldChg>
      <pc:sldChg chg="addSp delSp modSp mod ord delCm chgLayout">
        <pc:chgData name="Stina Torell" userId="42ae74f8-9b92-4847-96bc-2e51e5bf7907" providerId="ADAL" clId="{8222E77C-B75B-4648-AAD8-E34B669EE4DB}" dt="2022-04-26T15:10:56.457" v="11579" actId="403"/>
        <pc:sldMkLst>
          <pc:docMk/>
          <pc:sldMk cId="2642031561" sldId="2700"/>
        </pc:sldMkLst>
        <pc:spChg chg="mod ord">
          <ac:chgData name="Stina Torell" userId="42ae74f8-9b92-4847-96bc-2e51e5bf7907" providerId="ADAL" clId="{8222E77C-B75B-4648-AAD8-E34B669EE4DB}" dt="2022-04-14T10:30:27.005" v="9324" actId="20577"/>
          <ac:spMkLst>
            <pc:docMk/>
            <pc:sldMk cId="2642031561" sldId="2700"/>
            <ac:spMk id="2" creationId="{BB2173DD-1C6A-524C-AC25-0A6373F21E27}"/>
          </ac:spMkLst>
        </pc:spChg>
        <pc:spChg chg="mod">
          <ac:chgData name="Stina Torell" userId="42ae74f8-9b92-4847-96bc-2e51e5bf7907" providerId="ADAL" clId="{8222E77C-B75B-4648-AAD8-E34B669EE4DB}" dt="2022-04-20T11:22:05.012" v="10625" actId="465"/>
          <ac:spMkLst>
            <pc:docMk/>
            <pc:sldMk cId="2642031561" sldId="2700"/>
            <ac:spMk id="3" creationId="{700E9532-132D-7E43-B551-8AF0592C12A1}"/>
          </ac:spMkLst>
        </pc:spChg>
        <pc:spChg chg="mod">
          <ac:chgData name="Stina Torell" userId="42ae74f8-9b92-4847-96bc-2e51e5bf7907" providerId="ADAL" clId="{8222E77C-B75B-4648-AAD8-E34B669EE4DB}" dt="2022-04-26T15:03:21.957" v="11544" actId="207"/>
          <ac:spMkLst>
            <pc:docMk/>
            <pc:sldMk cId="2642031561" sldId="2700"/>
            <ac:spMk id="4" creationId="{69D2A4B3-2406-7D4A-B44D-9165A0C4F601}"/>
          </ac:spMkLst>
        </pc:spChg>
        <pc:spChg chg="add del mod">
          <ac:chgData name="Stina Torell" userId="42ae74f8-9b92-4847-96bc-2e51e5bf7907" providerId="ADAL" clId="{8222E77C-B75B-4648-AAD8-E34B669EE4DB}" dt="2022-04-14T08:35:37.526" v="8210"/>
          <ac:spMkLst>
            <pc:docMk/>
            <pc:sldMk cId="2642031561" sldId="2700"/>
            <ac:spMk id="5" creationId="{6C94FF62-B13B-C749-A294-753D0ADFC6AA}"/>
          </ac:spMkLst>
        </pc:spChg>
        <pc:spChg chg="mod">
          <ac:chgData name="Stina Torell" userId="42ae74f8-9b92-4847-96bc-2e51e5bf7907" providerId="ADAL" clId="{8222E77C-B75B-4648-AAD8-E34B669EE4DB}" dt="2022-04-20T11:22:05.012" v="10625" actId="465"/>
          <ac:spMkLst>
            <pc:docMk/>
            <pc:sldMk cId="2642031561" sldId="2700"/>
            <ac:spMk id="7" creationId="{167D5B5A-5FBA-7F4B-9467-7B33DD4566C6}"/>
          </ac:spMkLst>
        </pc:spChg>
        <pc:spChg chg="add del mod ord">
          <ac:chgData name="Stina Torell" userId="42ae74f8-9b92-4847-96bc-2e51e5bf7907" providerId="ADAL" clId="{8222E77C-B75B-4648-AAD8-E34B669EE4DB}" dt="2022-04-14T10:28:52.817" v="9296" actId="478"/>
          <ac:spMkLst>
            <pc:docMk/>
            <pc:sldMk cId="2642031561" sldId="2700"/>
            <ac:spMk id="11" creationId="{F2B7A027-B9F8-A141-8BB5-3B5CF7B93440}"/>
          </ac:spMkLst>
        </pc:spChg>
        <pc:spChg chg="mod">
          <ac:chgData name="Stina Torell" userId="42ae74f8-9b92-4847-96bc-2e51e5bf7907" providerId="ADAL" clId="{8222E77C-B75B-4648-AAD8-E34B669EE4DB}" dt="2022-04-26T15:01:52.737" v="11500" actId="14100"/>
          <ac:spMkLst>
            <pc:docMk/>
            <pc:sldMk cId="2642031561" sldId="2700"/>
            <ac:spMk id="13" creationId="{D842D4DD-0833-9D43-A07E-418D710D235B}"/>
          </ac:spMkLst>
        </pc:spChg>
        <pc:spChg chg="mod">
          <ac:chgData name="Stina Torell" userId="42ae74f8-9b92-4847-96bc-2e51e5bf7907" providerId="ADAL" clId="{8222E77C-B75B-4648-AAD8-E34B669EE4DB}" dt="2022-04-26T15:02:43.697" v="11511" actId="14100"/>
          <ac:spMkLst>
            <pc:docMk/>
            <pc:sldMk cId="2642031561" sldId="2700"/>
            <ac:spMk id="15" creationId="{0E122CC0-82CD-434A-A094-F3D8C3DB55C7}"/>
          </ac:spMkLst>
        </pc:spChg>
        <pc:spChg chg="add mod">
          <ac:chgData name="Stina Torell" userId="42ae74f8-9b92-4847-96bc-2e51e5bf7907" providerId="ADAL" clId="{8222E77C-B75B-4648-AAD8-E34B669EE4DB}" dt="2022-04-26T15:10:53.624" v="11578" actId="403"/>
          <ac:spMkLst>
            <pc:docMk/>
            <pc:sldMk cId="2642031561" sldId="2700"/>
            <ac:spMk id="19" creationId="{EEDFDB2A-59E4-EE54-DE5C-A5AB2360CF5C}"/>
          </ac:spMkLst>
        </pc:spChg>
        <pc:spChg chg="mod">
          <ac:chgData name="Stina Torell" userId="42ae74f8-9b92-4847-96bc-2e51e5bf7907" providerId="ADAL" clId="{8222E77C-B75B-4648-AAD8-E34B669EE4DB}" dt="2022-04-20T11:22:25.320" v="10626" actId="465"/>
          <ac:spMkLst>
            <pc:docMk/>
            <pc:sldMk cId="2642031561" sldId="2700"/>
            <ac:spMk id="20" creationId="{D16AFE0A-1D86-527E-BF24-FDC35AAD3C0D}"/>
          </ac:spMkLst>
        </pc:spChg>
        <pc:spChg chg="add mod">
          <ac:chgData name="Stina Torell" userId="42ae74f8-9b92-4847-96bc-2e51e5bf7907" providerId="ADAL" clId="{8222E77C-B75B-4648-AAD8-E34B669EE4DB}" dt="2022-04-26T15:10:56.457" v="11579" actId="403"/>
          <ac:spMkLst>
            <pc:docMk/>
            <pc:sldMk cId="2642031561" sldId="2700"/>
            <ac:spMk id="21" creationId="{5F62FD76-C222-3C88-6107-3A5EEE118326}"/>
          </ac:spMkLst>
        </pc:spChg>
        <pc:spChg chg="mod">
          <ac:chgData name="Stina Torell" userId="42ae74f8-9b92-4847-96bc-2e51e5bf7907" providerId="ADAL" clId="{8222E77C-B75B-4648-AAD8-E34B669EE4DB}" dt="2022-04-20T11:22:25.320" v="10626" actId="465"/>
          <ac:spMkLst>
            <pc:docMk/>
            <pc:sldMk cId="2642031561" sldId="2700"/>
            <ac:spMk id="22" creationId="{A1492D10-683C-644B-97F8-D82753A23D19}"/>
          </ac:spMkLst>
        </pc:spChg>
        <pc:spChg chg="mod">
          <ac:chgData name="Stina Torell" userId="42ae74f8-9b92-4847-96bc-2e51e5bf7907" providerId="ADAL" clId="{8222E77C-B75B-4648-AAD8-E34B669EE4DB}" dt="2022-04-20T11:22:25.320" v="10626" actId="465"/>
          <ac:spMkLst>
            <pc:docMk/>
            <pc:sldMk cId="2642031561" sldId="2700"/>
            <ac:spMk id="23" creationId="{36CF2A7E-352C-3346-9A53-754874E3FD71}"/>
          </ac:spMkLst>
        </pc:spChg>
        <pc:spChg chg="mod">
          <ac:chgData name="Stina Torell" userId="42ae74f8-9b92-4847-96bc-2e51e5bf7907" providerId="ADAL" clId="{8222E77C-B75B-4648-AAD8-E34B669EE4DB}" dt="2022-04-20T11:20:13.784" v="10598" actId="404"/>
          <ac:spMkLst>
            <pc:docMk/>
            <pc:sldMk cId="2642031561" sldId="2700"/>
            <ac:spMk id="24" creationId="{E80FB3A9-A206-0441-B38D-FF15013FBBCA}"/>
          </ac:spMkLst>
        </pc:spChg>
        <pc:spChg chg="mod">
          <ac:chgData name="Stina Torell" userId="42ae74f8-9b92-4847-96bc-2e51e5bf7907" providerId="ADAL" clId="{8222E77C-B75B-4648-AAD8-E34B669EE4DB}" dt="2022-04-26T15:03:42.142" v="11546" actId="14100"/>
          <ac:spMkLst>
            <pc:docMk/>
            <pc:sldMk cId="2642031561" sldId="2700"/>
            <ac:spMk id="25" creationId="{D0001E13-DA81-B978-5317-E7DAA9E9BBC3}"/>
          </ac:spMkLst>
        </pc:spChg>
        <pc:spChg chg="mod">
          <ac:chgData name="Stina Torell" userId="42ae74f8-9b92-4847-96bc-2e51e5bf7907" providerId="ADAL" clId="{8222E77C-B75B-4648-AAD8-E34B669EE4DB}" dt="2022-04-20T11:22:25.320" v="10626" actId="465"/>
          <ac:spMkLst>
            <pc:docMk/>
            <pc:sldMk cId="2642031561" sldId="2700"/>
            <ac:spMk id="26" creationId="{D523722F-C206-2542-A9D0-7A770C540DED}"/>
          </ac:spMkLst>
        </pc:spChg>
        <pc:spChg chg="mod">
          <ac:chgData name="Stina Torell" userId="42ae74f8-9b92-4847-96bc-2e51e5bf7907" providerId="ADAL" clId="{8222E77C-B75B-4648-AAD8-E34B669EE4DB}" dt="2022-04-26T15:02:16.442" v="11505" actId="1036"/>
          <ac:spMkLst>
            <pc:docMk/>
            <pc:sldMk cId="2642031561" sldId="2700"/>
            <ac:spMk id="27" creationId="{050856C1-35EC-CA47-A482-05C964DC4E19}"/>
          </ac:spMkLst>
        </pc:spChg>
        <pc:spChg chg="mod">
          <ac:chgData name="Stina Torell" userId="42ae74f8-9b92-4847-96bc-2e51e5bf7907" providerId="ADAL" clId="{8222E77C-B75B-4648-AAD8-E34B669EE4DB}" dt="2022-04-26T15:03:05.174" v="11543" actId="1037"/>
          <ac:spMkLst>
            <pc:docMk/>
            <pc:sldMk cId="2642031561" sldId="2700"/>
            <ac:spMk id="28" creationId="{C551AD2B-AEE5-2F4F-9575-A848E7C843D3}"/>
          </ac:spMkLst>
        </pc:spChg>
        <pc:spChg chg="add mod">
          <ac:chgData name="Stina Torell" userId="42ae74f8-9b92-4847-96bc-2e51e5bf7907" providerId="ADAL" clId="{8222E77C-B75B-4648-AAD8-E34B669EE4DB}" dt="2022-04-20T11:22:56.213" v="10642" actId="1036"/>
          <ac:spMkLst>
            <pc:docMk/>
            <pc:sldMk cId="2642031561" sldId="2700"/>
            <ac:spMk id="29" creationId="{C9307F64-B09C-E749-859E-AC8F9C46D94E}"/>
          </ac:spMkLst>
        </pc:spChg>
        <pc:spChg chg="add mod">
          <ac:chgData name="Stina Torell" userId="42ae74f8-9b92-4847-96bc-2e51e5bf7907" providerId="ADAL" clId="{8222E77C-B75B-4648-AAD8-E34B669EE4DB}" dt="2022-04-20T11:22:45.268" v="10635" actId="1036"/>
          <ac:spMkLst>
            <pc:docMk/>
            <pc:sldMk cId="2642031561" sldId="2700"/>
            <ac:spMk id="30" creationId="{9E15087A-AAA9-8348-925C-CFB4D1AF8897}"/>
          </ac:spMkLst>
        </pc:spChg>
        <pc:spChg chg="add del mod">
          <ac:chgData name="Stina Torell" userId="42ae74f8-9b92-4847-96bc-2e51e5bf7907" providerId="ADAL" clId="{8222E77C-B75B-4648-AAD8-E34B669EE4DB}" dt="2022-04-26T15:01:48.565" v="11499" actId="478"/>
          <ac:spMkLst>
            <pc:docMk/>
            <pc:sldMk cId="2642031561" sldId="2700"/>
            <ac:spMk id="31" creationId="{967EB2C0-A408-DC48-9C24-93DB7C00B406}"/>
          </ac:spMkLst>
        </pc:spChg>
        <pc:spChg chg="add del mod">
          <ac:chgData name="Stina Torell" userId="42ae74f8-9b92-4847-96bc-2e51e5bf7907" providerId="ADAL" clId="{8222E77C-B75B-4648-AAD8-E34B669EE4DB}" dt="2022-04-26T15:02:56.567" v="11525" actId="478"/>
          <ac:spMkLst>
            <pc:docMk/>
            <pc:sldMk cId="2642031561" sldId="2700"/>
            <ac:spMk id="32" creationId="{4CF1B334-ADDC-1B4A-B22C-8795DFB077E2}"/>
          </ac:spMkLst>
        </pc:spChg>
        <pc:spChg chg="mod">
          <ac:chgData name="Stina Torell" userId="42ae74f8-9b92-4847-96bc-2e51e5bf7907" providerId="ADAL" clId="{8222E77C-B75B-4648-AAD8-E34B669EE4DB}" dt="2022-04-26T15:10:50.072" v="11577" actId="403"/>
          <ac:spMkLst>
            <pc:docMk/>
            <pc:sldMk cId="2642031561" sldId="2700"/>
            <ac:spMk id="33" creationId="{59845B4F-142D-E0FE-847C-4F25FC4EFEC6}"/>
          </ac:spMkLst>
        </pc:spChg>
        <pc:grpChg chg="add mod">
          <ac:chgData name="Stina Torell" userId="42ae74f8-9b92-4847-96bc-2e51e5bf7907" providerId="ADAL" clId="{8222E77C-B75B-4648-AAD8-E34B669EE4DB}" dt="2022-04-20T11:22:25.320" v="10626" actId="465"/>
          <ac:grpSpMkLst>
            <pc:docMk/>
            <pc:sldMk cId="2642031561" sldId="2700"/>
            <ac:grpSpMk id="6" creationId="{4F920079-DC21-994D-B565-7D25437573DC}"/>
          </ac:grpSpMkLst>
        </pc:grpChg>
        <pc:grpChg chg="add mod">
          <ac:chgData name="Stina Torell" userId="42ae74f8-9b92-4847-96bc-2e51e5bf7907" providerId="ADAL" clId="{8222E77C-B75B-4648-AAD8-E34B669EE4DB}" dt="2022-04-20T11:22:25.320" v="10626" actId="465"/>
          <ac:grpSpMkLst>
            <pc:docMk/>
            <pc:sldMk cId="2642031561" sldId="2700"/>
            <ac:grpSpMk id="8" creationId="{D26160BC-5AE8-6640-B6E4-7605B2DC56FC}"/>
          </ac:grpSpMkLst>
        </pc:grpChg>
        <pc:grpChg chg="add mod">
          <ac:chgData name="Stina Torell" userId="42ae74f8-9b92-4847-96bc-2e51e5bf7907" providerId="ADAL" clId="{8222E77C-B75B-4648-AAD8-E34B669EE4DB}" dt="2022-04-20T11:22:25.320" v="10626" actId="465"/>
          <ac:grpSpMkLst>
            <pc:docMk/>
            <pc:sldMk cId="2642031561" sldId="2700"/>
            <ac:grpSpMk id="9" creationId="{AE613D36-51D4-2D42-ABC0-8126F649A3AF}"/>
          </ac:grpSpMkLst>
        </pc:grpChg>
        <pc:grpChg chg="add mod">
          <ac:chgData name="Stina Torell" userId="42ae74f8-9b92-4847-96bc-2e51e5bf7907" providerId="ADAL" clId="{8222E77C-B75B-4648-AAD8-E34B669EE4DB}" dt="2022-04-20T11:22:25.320" v="10626" actId="465"/>
          <ac:grpSpMkLst>
            <pc:docMk/>
            <pc:sldMk cId="2642031561" sldId="2700"/>
            <ac:grpSpMk id="10" creationId="{52B0C63A-2583-6242-B8F1-E7B39FD65EC5}"/>
          </ac:grpSpMkLst>
        </pc:grpChg>
      </pc:sldChg>
      <pc:sldChg chg="addSp delSp modSp mod ord delCm modCm">
        <pc:chgData name="Stina Torell" userId="42ae74f8-9b92-4847-96bc-2e51e5bf7907" providerId="ADAL" clId="{8222E77C-B75B-4648-AAD8-E34B669EE4DB}" dt="2022-04-26T15:10:37.304" v="11576" actId="2711"/>
        <pc:sldMkLst>
          <pc:docMk/>
          <pc:sldMk cId="610412472" sldId="2701"/>
        </pc:sldMkLst>
        <pc:spChg chg="add mod">
          <ac:chgData name="Stina Torell" userId="42ae74f8-9b92-4847-96bc-2e51e5bf7907" providerId="ADAL" clId="{8222E77C-B75B-4648-AAD8-E34B669EE4DB}" dt="2022-04-14T09:27:18.887" v="8472" actId="207"/>
          <ac:spMkLst>
            <pc:docMk/>
            <pc:sldMk cId="610412472" sldId="2701"/>
            <ac:spMk id="2" creationId="{534FAA8C-BD4A-F74D-9CDB-7668C4DB422D}"/>
          </ac:spMkLst>
        </pc:spChg>
        <pc:spChg chg="del mod">
          <ac:chgData name="Stina Torell" userId="42ae74f8-9b92-4847-96bc-2e51e5bf7907" providerId="ADAL" clId="{8222E77C-B75B-4648-AAD8-E34B669EE4DB}" dt="2022-04-14T08:09:39.361" v="7813" actId="478"/>
          <ac:spMkLst>
            <pc:docMk/>
            <pc:sldMk cId="610412472" sldId="2701"/>
            <ac:spMk id="3" creationId="{17EC2598-B2CC-4202-7F57-914613324470}"/>
          </ac:spMkLst>
        </pc:spChg>
        <pc:spChg chg="add mod">
          <ac:chgData name="Stina Torell" userId="42ae74f8-9b92-4847-96bc-2e51e5bf7907" providerId="ADAL" clId="{8222E77C-B75B-4648-AAD8-E34B669EE4DB}" dt="2022-04-26T15:10:29.364" v="11575" actId="2711"/>
          <ac:spMkLst>
            <pc:docMk/>
            <pc:sldMk cId="610412472" sldId="2701"/>
            <ac:spMk id="4" creationId="{EFE8BCB2-783D-964B-A0F4-C187F31ABC00}"/>
          </ac:spMkLst>
        </pc:spChg>
        <pc:spChg chg="del">
          <ac:chgData name="Stina Torell" userId="42ae74f8-9b92-4847-96bc-2e51e5bf7907" providerId="ADAL" clId="{8222E77C-B75B-4648-AAD8-E34B669EE4DB}" dt="2022-04-14T08:14:34.260" v="7885" actId="478"/>
          <ac:spMkLst>
            <pc:docMk/>
            <pc:sldMk cId="610412472" sldId="2701"/>
            <ac:spMk id="18" creationId="{85F1864B-2F47-9783-FD34-7A448D8112B4}"/>
          </ac:spMkLst>
        </pc:spChg>
        <pc:spChg chg="del mod">
          <ac:chgData name="Stina Torell" userId="42ae74f8-9b92-4847-96bc-2e51e5bf7907" providerId="ADAL" clId="{8222E77C-B75B-4648-AAD8-E34B669EE4DB}" dt="2022-04-20T08:28:01.551" v="9611" actId="478"/>
          <ac:spMkLst>
            <pc:docMk/>
            <pc:sldMk cId="610412472" sldId="2701"/>
            <ac:spMk id="21" creationId="{B98BE0D0-4ECA-1EE2-6039-C954D56C0667}"/>
          </ac:spMkLst>
        </pc:spChg>
        <pc:spChg chg="del mod">
          <ac:chgData name="Stina Torell" userId="42ae74f8-9b92-4847-96bc-2e51e5bf7907" providerId="ADAL" clId="{8222E77C-B75B-4648-AAD8-E34B669EE4DB}" dt="2022-04-20T08:28:06.115" v="9614" actId="478"/>
          <ac:spMkLst>
            <pc:docMk/>
            <pc:sldMk cId="610412472" sldId="2701"/>
            <ac:spMk id="22" creationId="{5EB724C3-FCFA-AEF6-2686-5BEF0E2EE38B}"/>
          </ac:spMkLst>
        </pc:spChg>
        <pc:spChg chg="add mod">
          <ac:chgData name="Stina Torell" userId="42ae74f8-9b92-4847-96bc-2e51e5bf7907" providerId="ADAL" clId="{8222E77C-B75B-4648-AAD8-E34B669EE4DB}" dt="2022-04-20T08:29:54.323" v="9617" actId="1038"/>
          <ac:spMkLst>
            <pc:docMk/>
            <pc:sldMk cId="610412472" sldId="2701"/>
            <ac:spMk id="23" creationId="{E3CE468C-98A1-BD43-89FA-9DD9CF7A48E9}"/>
          </ac:spMkLst>
        </pc:spChg>
        <pc:spChg chg="del">
          <ac:chgData name="Stina Torell" userId="42ae74f8-9b92-4847-96bc-2e51e5bf7907" providerId="ADAL" clId="{8222E77C-B75B-4648-AAD8-E34B669EE4DB}" dt="2022-04-14T08:14:37.920" v="7886" actId="478"/>
          <ac:spMkLst>
            <pc:docMk/>
            <pc:sldMk cId="610412472" sldId="2701"/>
            <ac:spMk id="23" creationId="{F44978CE-285E-A5C0-FE2E-2429690FFCA5}"/>
          </ac:spMkLst>
        </pc:spChg>
        <pc:spChg chg="del mod">
          <ac:chgData name="Stina Torell" userId="42ae74f8-9b92-4847-96bc-2e51e5bf7907" providerId="ADAL" clId="{8222E77C-B75B-4648-AAD8-E34B669EE4DB}" dt="2022-04-20T08:28:03.674" v="9613" actId="478"/>
          <ac:spMkLst>
            <pc:docMk/>
            <pc:sldMk cId="610412472" sldId="2701"/>
            <ac:spMk id="24" creationId="{F62ED620-40CB-9F5B-2E29-2DCA10A2A47D}"/>
          </ac:spMkLst>
        </pc:spChg>
        <pc:spChg chg="add del mod">
          <ac:chgData name="Stina Torell" userId="42ae74f8-9b92-4847-96bc-2e51e5bf7907" providerId="ADAL" clId="{8222E77C-B75B-4648-AAD8-E34B669EE4DB}" dt="2022-04-14T08:10:00.965" v="7815" actId="478"/>
          <ac:spMkLst>
            <pc:docMk/>
            <pc:sldMk cId="610412472" sldId="2701"/>
            <ac:spMk id="31" creationId="{83D6E84E-1CD9-6644-ACE4-218A4BA3B05B}"/>
          </ac:spMkLst>
        </pc:spChg>
        <pc:spChg chg="add mod">
          <ac:chgData name="Stina Torell" userId="42ae74f8-9b92-4847-96bc-2e51e5bf7907" providerId="ADAL" clId="{8222E77C-B75B-4648-AAD8-E34B669EE4DB}" dt="2022-04-20T08:30:17.081" v="9620" actId="1036"/>
          <ac:spMkLst>
            <pc:docMk/>
            <pc:sldMk cId="610412472" sldId="2701"/>
            <ac:spMk id="31" creationId="{DB35D7CD-ADB4-1B4D-94A4-05C1C6B0AFD8}"/>
          </ac:spMkLst>
        </pc:spChg>
        <pc:spChg chg="add mod">
          <ac:chgData name="Stina Torell" userId="42ae74f8-9b92-4847-96bc-2e51e5bf7907" providerId="ADAL" clId="{8222E77C-B75B-4648-AAD8-E34B669EE4DB}" dt="2022-04-20T08:29:54.323" v="9617" actId="1038"/>
          <ac:spMkLst>
            <pc:docMk/>
            <pc:sldMk cId="610412472" sldId="2701"/>
            <ac:spMk id="32" creationId="{0355AF25-1523-D943-BABA-B824DA4351E4}"/>
          </ac:spMkLst>
        </pc:spChg>
        <pc:spChg chg="add del mod">
          <ac:chgData name="Stina Torell" userId="42ae74f8-9b92-4847-96bc-2e51e5bf7907" providerId="ADAL" clId="{8222E77C-B75B-4648-AAD8-E34B669EE4DB}" dt="2022-04-14T08:18:20.351" v="8041" actId="478"/>
          <ac:spMkLst>
            <pc:docMk/>
            <pc:sldMk cId="610412472" sldId="2701"/>
            <ac:spMk id="32" creationId="{EF9A23C3-A68F-2945-98A1-704C6786688B}"/>
          </ac:spMkLst>
        </pc:spChg>
        <pc:spChg chg="add mod">
          <ac:chgData name="Stina Torell" userId="42ae74f8-9b92-4847-96bc-2e51e5bf7907" providerId="ADAL" clId="{8222E77C-B75B-4648-AAD8-E34B669EE4DB}" dt="2022-04-26T15:10:37.304" v="11576" actId="2711"/>
          <ac:spMkLst>
            <pc:docMk/>
            <pc:sldMk cId="610412472" sldId="2701"/>
            <ac:spMk id="33" creationId="{BD989B91-BD7D-1647-803E-E0EC54DFFC1F}"/>
          </ac:spMkLst>
        </pc:spChg>
        <pc:spChg chg="mod">
          <ac:chgData name="Stina Torell" userId="42ae74f8-9b92-4847-96bc-2e51e5bf7907" providerId="ADAL" clId="{8222E77C-B75B-4648-AAD8-E34B669EE4DB}" dt="2022-04-14T09:24:24.180" v="8458" actId="207"/>
          <ac:spMkLst>
            <pc:docMk/>
            <pc:sldMk cId="610412472" sldId="2701"/>
            <ac:spMk id="35" creationId="{71C2EF32-D181-F14D-8A38-4C9A5BAFEA32}"/>
          </ac:spMkLst>
        </pc:spChg>
        <pc:spChg chg="add del mod">
          <ac:chgData name="Stina Torell" userId="42ae74f8-9b92-4847-96bc-2e51e5bf7907" providerId="ADAL" clId="{8222E77C-B75B-4648-AAD8-E34B669EE4DB}" dt="2022-04-14T09:08:56.632" v="8300" actId="478"/>
          <ac:spMkLst>
            <pc:docMk/>
            <pc:sldMk cId="610412472" sldId="2701"/>
            <ac:spMk id="36" creationId="{5197F1BD-EB58-EC40-91A9-D5F860B97CF2}"/>
          </ac:spMkLst>
        </pc:spChg>
        <pc:spChg chg="mod">
          <ac:chgData name="Stina Torell" userId="42ae74f8-9b92-4847-96bc-2e51e5bf7907" providerId="ADAL" clId="{8222E77C-B75B-4648-AAD8-E34B669EE4DB}" dt="2022-04-14T09:24:24.180" v="8458" actId="207"/>
          <ac:spMkLst>
            <pc:docMk/>
            <pc:sldMk cId="610412472" sldId="2701"/>
            <ac:spMk id="37" creationId="{A5EF99E6-FAB8-2346-A343-34570B94BC29}"/>
          </ac:spMkLst>
        </pc:spChg>
        <pc:spChg chg="mod">
          <ac:chgData name="Stina Torell" userId="42ae74f8-9b92-4847-96bc-2e51e5bf7907" providerId="ADAL" clId="{8222E77C-B75B-4648-AAD8-E34B669EE4DB}" dt="2022-04-14T09:24:24.180" v="8458" actId="207"/>
          <ac:spMkLst>
            <pc:docMk/>
            <pc:sldMk cId="610412472" sldId="2701"/>
            <ac:spMk id="38" creationId="{C35A410D-1F7C-1F4B-95FF-6227F91325C0}"/>
          </ac:spMkLst>
        </pc:spChg>
        <pc:spChg chg="mod">
          <ac:chgData name="Stina Torell" userId="42ae74f8-9b92-4847-96bc-2e51e5bf7907" providerId="ADAL" clId="{8222E77C-B75B-4648-AAD8-E34B669EE4DB}" dt="2022-04-14T09:24:24.180" v="8458" actId="207"/>
          <ac:spMkLst>
            <pc:docMk/>
            <pc:sldMk cId="610412472" sldId="2701"/>
            <ac:spMk id="47" creationId="{C042DEED-CEAE-054E-A4DF-7459090495F8}"/>
          </ac:spMkLst>
        </pc:spChg>
        <pc:picChg chg="mod">
          <ac:chgData name="Stina Torell" userId="42ae74f8-9b92-4847-96bc-2e51e5bf7907" providerId="ADAL" clId="{8222E77C-B75B-4648-AAD8-E34B669EE4DB}" dt="2022-04-20T08:30:09.611" v="9619" actId="1038"/>
          <ac:picMkLst>
            <pc:docMk/>
            <pc:sldMk cId="610412472" sldId="2701"/>
            <ac:picMk id="19" creationId="{D42F4183-9BC8-4ACA-FB4E-660B4CC5AB30}"/>
          </ac:picMkLst>
        </pc:picChg>
        <pc:picChg chg="mod">
          <ac:chgData name="Stina Torell" userId="42ae74f8-9b92-4847-96bc-2e51e5bf7907" providerId="ADAL" clId="{8222E77C-B75B-4648-AAD8-E34B669EE4DB}" dt="2022-04-20T08:33:05.568" v="9624" actId="1037"/>
          <ac:picMkLst>
            <pc:docMk/>
            <pc:sldMk cId="610412472" sldId="2701"/>
            <ac:picMk id="20" creationId="{7AFB2FC1-B186-C22F-3A80-6800190ACC0F}"/>
          </ac:picMkLst>
        </pc:picChg>
        <pc:picChg chg="mod">
          <ac:chgData name="Stina Torell" userId="42ae74f8-9b92-4847-96bc-2e51e5bf7907" providerId="ADAL" clId="{8222E77C-B75B-4648-AAD8-E34B669EE4DB}" dt="2022-04-14T08:18:44.654" v="8054" actId="1035"/>
          <ac:picMkLst>
            <pc:docMk/>
            <pc:sldMk cId="610412472" sldId="2701"/>
            <ac:picMk id="25" creationId="{9DAAD98F-04E9-8616-6DCB-39C57B8BAFC8}"/>
          </ac:picMkLst>
        </pc:picChg>
        <pc:picChg chg="mod">
          <ac:chgData name="Stina Torell" userId="42ae74f8-9b92-4847-96bc-2e51e5bf7907" providerId="ADAL" clId="{8222E77C-B75B-4648-AAD8-E34B669EE4DB}" dt="2022-04-14T08:18:44.654" v="8054" actId="1035"/>
          <ac:picMkLst>
            <pc:docMk/>
            <pc:sldMk cId="610412472" sldId="2701"/>
            <ac:picMk id="26" creationId="{47C2D619-6B13-D501-AA96-0FC2BD330743}"/>
          </ac:picMkLst>
        </pc:picChg>
        <pc:picChg chg="mod">
          <ac:chgData name="Stina Torell" userId="42ae74f8-9b92-4847-96bc-2e51e5bf7907" providerId="ADAL" clId="{8222E77C-B75B-4648-AAD8-E34B669EE4DB}" dt="2022-04-14T08:18:44.654" v="8054" actId="1035"/>
          <ac:picMkLst>
            <pc:docMk/>
            <pc:sldMk cId="610412472" sldId="2701"/>
            <ac:picMk id="27" creationId="{D775F468-E72D-5F3A-A875-D4DFC7CE84B7}"/>
          </ac:picMkLst>
        </pc:picChg>
        <pc:picChg chg="mod">
          <ac:chgData name="Stina Torell" userId="42ae74f8-9b92-4847-96bc-2e51e5bf7907" providerId="ADAL" clId="{8222E77C-B75B-4648-AAD8-E34B669EE4DB}" dt="2022-04-14T08:18:44.654" v="8054" actId="1035"/>
          <ac:picMkLst>
            <pc:docMk/>
            <pc:sldMk cId="610412472" sldId="2701"/>
            <ac:picMk id="28" creationId="{33A11EA4-52AC-B78A-3FAF-CBD6C765EA75}"/>
          </ac:picMkLst>
        </pc:picChg>
        <pc:picChg chg="mod">
          <ac:chgData name="Stina Torell" userId="42ae74f8-9b92-4847-96bc-2e51e5bf7907" providerId="ADAL" clId="{8222E77C-B75B-4648-AAD8-E34B669EE4DB}" dt="2022-04-20T08:30:09.611" v="9619" actId="1038"/>
          <ac:picMkLst>
            <pc:docMk/>
            <pc:sldMk cId="610412472" sldId="2701"/>
            <ac:picMk id="30" creationId="{921A26A2-5B50-07BA-5C32-B46BBBA793C9}"/>
          </ac:picMkLst>
        </pc:picChg>
        <pc:cxnChg chg="add mod">
          <ac:chgData name="Stina Torell" userId="42ae74f8-9b92-4847-96bc-2e51e5bf7907" providerId="ADAL" clId="{8222E77C-B75B-4648-AAD8-E34B669EE4DB}" dt="2022-04-14T09:27:07.901" v="8471" actId="14100"/>
          <ac:cxnSpMkLst>
            <pc:docMk/>
            <pc:sldMk cId="610412472" sldId="2701"/>
            <ac:cxnSpMk id="6" creationId="{7ABC6C12-DED4-9E4D-9B51-6EE822064730}"/>
          </ac:cxnSpMkLst>
        </pc:cxnChg>
        <pc:cxnChg chg="add del mod">
          <ac:chgData name="Stina Torell" userId="42ae74f8-9b92-4847-96bc-2e51e5bf7907" providerId="ADAL" clId="{8222E77C-B75B-4648-AAD8-E34B669EE4DB}" dt="2022-04-14T09:10:41.970" v="8330" actId="478"/>
          <ac:cxnSpMkLst>
            <pc:docMk/>
            <pc:sldMk cId="610412472" sldId="2701"/>
            <ac:cxnSpMk id="34" creationId="{61AEC498-4ED7-1143-9BDA-892D1691686B}"/>
          </ac:cxnSpMkLst>
        </pc:cxnChg>
        <pc:cxnChg chg="add mod">
          <ac:chgData name="Stina Torell" userId="42ae74f8-9b92-4847-96bc-2e51e5bf7907" providerId="ADAL" clId="{8222E77C-B75B-4648-AAD8-E34B669EE4DB}" dt="2022-04-14T09:11:04.552" v="8390" actId="1038"/>
          <ac:cxnSpMkLst>
            <pc:docMk/>
            <pc:sldMk cId="610412472" sldId="2701"/>
            <ac:cxnSpMk id="39" creationId="{9B532D57-21FD-A74D-A658-45B6AAED8409}"/>
          </ac:cxnSpMkLst>
        </pc:cxnChg>
      </pc:sldChg>
      <pc:sldChg chg="addSp delSp modSp new mod">
        <pc:chgData name="Stina Torell" userId="42ae74f8-9b92-4847-96bc-2e51e5bf7907" providerId="ADAL" clId="{8222E77C-B75B-4648-AAD8-E34B669EE4DB}" dt="2022-04-14T10:27:28.328" v="9293" actId="20577"/>
        <pc:sldMkLst>
          <pc:docMk/>
          <pc:sldMk cId="739508440" sldId="2702"/>
        </pc:sldMkLst>
        <pc:spChg chg="mod">
          <ac:chgData name="Stina Torell" userId="42ae74f8-9b92-4847-96bc-2e51e5bf7907" providerId="ADAL" clId="{8222E77C-B75B-4648-AAD8-E34B669EE4DB}" dt="2022-04-14T10:23:22.347" v="9238"/>
          <ac:spMkLst>
            <pc:docMk/>
            <pc:sldMk cId="739508440" sldId="2702"/>
            <ac:spMk id="2" creationId="{AFD701D9-36CA-5547-9F4E-E7B93DCD9EF5}"/>
          </ac:spMkLst>
        </pc:spChg>
        <pc:spChg chg="del">
          <ac:chgData name="Stina Torell" userId="42ae74f8-9b92-4847-96bc-2e51e5bf7907" providerId="ADAL" clId="{8222E77C-B75B-4648-AAD8-E34B669EE4DB}" dt="2022-04-14T10:24:46.480" v="9241" actId="478"/>
          <ac:spMkLst>
            <pc:docMk/>
            <pc:sldMk cId="739508440" sldId="2702"/>
            <ac:spMk id="3" creationId="{06F7865D-EFFA-544A-A977-E3880257FE9F}"/>
          </ac:spMkLst>
        </pc:spChg>
        <pc:spChg chg="add mod">
          <ac:chgData name="Stina Torell" userId="42ae74f8-9b92-4847-96bc-2e51e5bf7907" providerId="ADAL" clId="{8222E77C-B75B-4648-AAD8-E34B669EE4DB}" dt="2022-04-14T10:24:44.344" v="9240"/>
          <ac:spMkLst>
            <pc:docMk/>
            <pc:sldMk cId="739508440" sldId="2702"/>
            <ac:spMk id="4" creationId="{75E66A11-5444-DF40-A311-75A5C09C4B33}"/>
          </ac:spMkLst>
        </pc:spChg>
        <pc:spChg chg="add mod">
          <ac:chgData name="Stina Torell" userId="42ae74f8-9b92-4847-96bc-2e51e5bf7907" providerId="ADAL" clId="{8222E77C-B75B-4648-AAD8-E34B669EE4DB}" dt="2022-04-14T10:24:44.344" v="9240"/>
          <ac:spMkLst>
            <pc:docMk/>
            <pc:sldMk cId="739508440" sldId="2702"/>
            <ac:spMk id="6" creationId="{4CF8FBE2-87F3-EB42-9E95-EC91626F1181}"/>
          </ac:spMkLst>
        </pc:spChg>
        <pc:spChg chg="add mod">
          <ac:chgData name="Stina Torell" userId="42ae74f8-9b92-4847-96bc-2e51e5bf7907" providerId="ADAL" clId="{8222E77C-B75B-4648-AAD8-E34B669EE4DB}" dt="2022-04-14T10:24:44.344" v="9240"/>
          <ac:spMkLst>
            <pc:docMk/>
            <pc:sldMk cId="739508440" sldId="2702"/>
            <ac:spMk id="7" creationId="{A39BB3C2-9C68-434B-BC0B-52E52EB3D733}"/>
          </ac:spMkLst>
        </pc:spChg>
        <pc:spChg chg="add mod">
          <ac:chgData name="Stina Torell" userId="42ae74f8-9b92-4847-96bc-2e51e5bf7907" providerId="ADAL" clId="{8222E77C-B75B-4648-AAD8-E34B669EE4DB}" dt="2022-04-14T10:24:44.344" v="9240"/>
          <ac:spMkLst>
            <pc:docMk/>
            <pc:sldMk cId="739508440" sldId="2702"/>
            <ac:spMk id="8" creationId="{D9AEF7CE-7C7A-2742-8E1A-F02F570C27BE}"/>
          </ac:spMkLst>
        </pc:spChg>
        <pc:spChg chg="add mod">
          <ac:chgData name="Stina Torell" userId="42ae74f8-9b92-4847-96bc-2e51e5bf7907" providerId="ADAL" clId="{8222E77C-B75B-4648-AAD8-E34B669EE4DB}" dt="2022-04-14T10:24:44.344" v="9240"/>
          <ac:spMkLst>
            <pc:docMk/>
            <pc:sldMk cId="739508440" sldId="2702"/>
            <ac:spMk id="9" creationId="{A76A323D-D695-0242-9C02-1CE6727A679F}"/>
          </ac:spMkLst>
        </pc:spChg>
        <pc:spChg chg="add mod">
          <ac:chgData name="Stina Torell" userId="42ae74f8-9b92-4847-96bc-2e51e5bf7907" providerId="ADAL" clId="{8222E77C-B75B-4648-AAD8-E34B669EE4DB}" dt="2022-04-14T10:24:44.344" v="9240"/>
          <ac:spMkLst>
            <pc:docMk/>
            <pc:sldMk cId="739508440" sldId="2702"/>
            <ac:spMk id="10" creationId="{276B7FB9-24B8-814D-95E9-9DA219A65BAD}"/>
          </ac:spMkLst>
        </pc:spChg>
        <pc:spChg chg="add mod">
          <ac:chgData name="Stina Torell" userId="42ae74f8-9b92-4847-96bc-2e51e5bf7907" providerId="ADAL" clId="{8222E77C-B75B-4648-AAD8-E34B669EE4DB}" dt="2022-04-14T10:24:44.344" v="9240"/>
          <ac:spMkLst>
            <pc:docMk/>
            <pc:sldMk cId="739508440" sldId="2702"/>
            <ac:spMk id="11" creationId="{E4E57772-6F54-E24F-BC9E-6FF4F7B12BC0}"/>
          </ac:spMkLst>
        </pc:spChg>
        <pc:spChg chg="add mod">
          <ac:chgData name="Stina Torell" userId="42ae74f8-9b92-4847-96bc-2e51e5bf7907" providerId="ADAL" clId="{8222E77C-B75B-4648-AAD8-E34B669EE4DB}" dt="2022-04-14T10:26:34.348" v="9275" actId="14100"/>
          <ac:spMkLst>
            <pc:docMk/>
            <pc:sldMk cId="739508440" sldId="2702"/>
            <ac:spMk id="12" creationId="{4B1E954F-636E-3742-8715-9DF12A8E5214}"/>
          </ac:spMkLst>
        </pc:spChg>
        <pc:spChg chg="add mod">
          <ac:chgData name="Stina Torell" userId="42ae74f8-9b92-4847-96bc-2e51e5bf7907" providerId="ADAL" clId="{8222E77C-B75B-4648-AAD8-E34B669EE4DB}" dt="2022-04-14T10:26:31.590" v="9274" actId="20577"/>
          <ac:spMkLst>
            <pc:docMk/>
            <pc:sldMk cId="739508440" sldId="2702"/>
            <ac:spMk id="13" creationId="{1660C22D-A6F4-2C42-A647-40CB55564A00}"/>
          </ac:spMkLst>
        </pc:spChg>
        <pc:spChg chg="add mod">
          <ac:chgData name="Stina Torell" userId="42ae74f8-9b92-4847-96bc-2e51e5bf7907" providerId="ADAL" clId="{8222E77C-B75B-4648-AAD8-E34B669EE4DB}" dt="2022-04-14T10:27:28.328" v="9293" actId="20577"/>
          <ac:spMkLst>
            <pc:docMk/>
            <pc:sldMk cId="739508440" sldId="2702"/>
            <ac:spMk id="14" creationId="{4B983579-3D65-0348-85C9-DADAFC79F3FC}"/>
          </ac:spMkLst>
        </pc:spChg>
        <pc:cxnChg chg="add mod">
          <ac:chgData name="Stina Torell" userId="42ae74f8-9b92-4847-96bc-2e51e5bf7907" providerId="ADAL" clId="{8222E77C-B75B-4648-AAD8-E34B669EE4DB}" dt="2022-04-14T10:24:44.344" v="9240"/>
          <ac:cxnSpMkLst>
            <pc:docMk/>
            <pc:sldMk cId="739508440" sldId="2702"/>
            <ac:cxnSpMk id="5" creationId="{91D76394-418D-6B4E-B41E-02747C3B7F07}"/>
          </ac:cxnSpMkLst>
        </pc:cxnChg>
      </pc:sldChg>
      <pc:sldChg chg="new del">
        <pc:chgData name="Stina Torell" userId="42ae74f8-9b92-4847-96bc-2e51e5bf7907" providerId="ADAL" clId="{8222E77C-B75B-4648-AAD8-E34B669EE4DB}" dt="2022-04-14T09:08:48.536" v="8299" actId="2696"/>
        <pc:sldMkLst>
          <pc:docMk/>
          <pc:sldMk cId="3135383391" sldId="2702"/>
        </pc:sldMkLst>
      </pc:sldChg>
      <pc:sldChg chg="addSp delSp modSp add mod">
        <pc:chgData name="Stina Torell" userId="42ae74f8-9b92-4847-96bc-2e51e5bf7907" providerId="ADAL" clId="{8222E77C-B75B-4648-AAD8-E34B669EE4DB}" dt="2022-04-26T07:00:42.624" v="11472" actId="20577"/>
        <pc:sldMkLst>
          <pc:docMk/>
          <pc:sldMk cId="3282791203" sldId="2704"/>
        </pc:sldMkLst>
        <pc:spChg chg="mod topLvl">
          <ac:chgData name="Stina Torell" userId="42ae74f8-9b92-4847-96bc-2e51e5bf7907" providerId="ADAL" clId="{8222E77C-B75B-4648-AAD8-E34B669EE4DB}" dt="2022-04-21T10:02:50.942" v="11252" actId="1076"/>
          <ac:spMkLst>
            <pc:docMk/>
            <pc:sldMk cId="3282791203" sldId="2704"/>
            <ac:spMk id="4" creationId="{7C6A233E-1FA7-D04B-8812-C19A957C93CD}"/>
          </ac:spMkLst>
        </pc:spChg>
        <pc:spChg chg="mod">
          <ac:chgData name="Stina Torell" userId="42ae74f8-9b92-4847-96bc-2e51e5bf7907" providerId="ADAL" clId="{8222E77C-B75B-4648-AAD8-E34B669EE4DB}" dt="2022-04-21T10:07:32.287" v="11421" actId="20577"/>
          <ac:spMkLst>
            <pc:docMk/>
            <pc:sldMk cId="3282791203" sldId="2704"/>
            <ac:spMk id="5" creationId="{C17C3673-D034-2A46-9A3A-CB8D8574FB76}"/>
          </ac:spMkLst>
        </pc:spChg>
        <pc:spChg chg="mod topLvl">
          <ac:chgData name="Stina Torell" userId="42ae74f8-9b92-4847-96bc-2e51e5bf7907" providerId="ADAL" clId="{8222E77C-B75B-4648-AAD8-E34B669EE4DB}" dt="2022-04-21T10:02:50.942" v="11252" actId="1076"/>
          <ac:spMkLst>
            <pc:docMk/>
            <pc:sldMk cId="3282791203" sldId="2704"/>
            <ac:spMk id="53" creationId="{D99A50ED-1BF4-1747-B1B6-FF8D31E81365}"/>
          </ac:spMkLst>
        </pc:spChg>
        <pc:spChg chg="mod topLvl">
          <ac:chgData name="Stina Torell" userId="42ae74f8-9b92-4847-96bc-2e51e5bf7907" providerId="ADAL" clId="{8222E77C-B75B-4648-AAD8-E34B669EE4DB}" dt="2022-04-21T10:02:50.942" v="11252" actId="1076"/>
          <ac:spMkLst>
            <pc:docMk/>
            <pc:sldMk cId="3282791203" sldId="2704"/>
            <ac:spMk id="55" creationId="{6967590D-F8C9-9844-90D3-F6162B59465A}"/>
          </ac:spMkLst>
        </pc:spChg>
        <pc:spChg chg="mod topLvl">
          <ac:chgData name="Stina Torell" userId="42ae74f8-9b92-4847-96bc-2e51e5bf7907" providerId="ADAL" clId="{8222E77C-B75B-4648-AAD8-E34B669EE4DB}" dt="2022-04-21T10:02:50.942" v="11252" actId="1076"/>
          <ac:spMkLst>
            <pc:docMk/>
            <pc:sldMk cId="3282791203" sldId="2704"/>
            <ac:spMk id="58" creationId="{FBE9B74A-7327-A545-800C-67B2E48887B9}"/>
          </ac:spMkLst>
        </pc:spChg>
        <pc:spChg chg="mod topLvl">
          <ac:chgData name="Stina Torell" userId="42ae74f8-9b92-4847-96bc-2e51e5bf7907" providerId="ADAL" clId="{8222E77C-B75B-4648-AAD8-E34B669EE4DB}" dt="2022-04-21T10:02:50.942" v="11252" actId="1076"/>
          <ac:spMkLst>
            <pc:docMk/>
            <pc:sldMk cId="3282791203" sldId="2704"/>
            <ac:spMk id="60" creationId="{546E57BF-008A-6A49-B1DC-E079C7D576F4}"/>
          </ac:spMkLst>
        </pc:spChg>
        <pc:spChg chg="del">
          <ac:chgData name="Stina Torell" userId="42ae74f8-9b92-4847-96bc-2e51e5bf7907" providerId="ADAL" clId="{8222E77C-B75B-4648-AAD8-E34B669EE4DB}" dt="2022-04-21T09:52:43.546" v="10989" actId="478"/>
          <ac:spMkLst>
            <pc:docMk/>
            <pc:sldMk cId="3282791203" sldId="2704"/>
            <ac:spMk id="63" creationId="{F1C84679-10E8-A94F-889E-90273514C959}"/>
          </ac:spMkLst>
        </pc:spChg>
        <pc:spChg chg="del">
          <ac:chgData name="Stina Torell" userId="42ae74f8-9b92-4847-96bc-2e51e5bf7907" providerId="ADAL" clId="{8222E77C-B75B-4648-AAD8-E34B669EE4DB}" dt="2022-04-21T09:52:47.565" v="10991" actId="478"/>
          <ac:spMkLst>
            <pc:docMk/>
            <pc:sldMk cId="3282791203" sldId="2704"/>
            <ac:spMk id="65" creationId="{19868F85-52E1-1B4B-AA8F-9277FA4B6B14}"/>
          </ac:spMkLst>
        </pc:spChg>
        <pc:spChg chg="mod">
          <ac:chgData name="Stina Torell" userId="42ae74f8-9b92-4847-96bc-2e51e5bf7907" providerId="ADAL" clId="{8222E77C-B75B-4648-AAD8-E34B669EE4DB}" dt="2022-04-21T10:02:50.942" v="11252" actId="1076"/>
          <ac:spMkLst>
            <pc:docMk/>
            <pc:sldMk cId="3282791203" sldId="2704"/>
            <ac:spMk id="66" creationId="{80E403B5-ABEE-D247-B891-C5291A3C324E}"/>
          </ac:spMkLst>
        </pc:spChg>
        <pc:spChg chg="mod">
          <ac:chgData name="Stina Torell" userId="42ae74f8-9b92-4847-96bc-2e51e5bf7907" providerId="ADAL" clId="{8222E77C-B75B-4648-AAD8-E34B669EE4DB}" dt="2022-04-21T10:02:50.942" v="11252" actId="1076"/>
          <ac:spMkLst>
            <pc:docMk/>
            <pc:sldMk cId="3282791203" sldId="2704"/>
            <ac:spMk id="68" creationId="{98647605-5B0C-0340-8D71-23339F985CE9}"/>
          </ac:spMkLst>
        </pc:spChg>
        <pc:spChg chg="mod">
          <ac:chgData name="Stina Torell" userId="42ae74f8-9b92-4847-96bc-2e51e5bf7907" providerId="ADAL" clId="{8222E77C-B75B-4648-AAD8-E34B669EE4DB}" dt="2022-04-21T10:02:50.942" v="11252" actId="1076"/>
          <ac:spMkLst>
            <pc:docMk/>
            <pc:sldMk cId="3282791203" sldId="2704"/>
            <ac:spMk id="69" creationId="{CAC63E15-4DD7-2949-A9BD-CB9B2414315C}"/>
          </ac:spMkLst>
        </pc:spChg>
        <pc:spChg chg="mod">
          <ac:chgData name="Stina Torell" userId="42ae74f8-9b92-4847-96bc-2e51e5bf7907" providerId="ADAL" clId="{8222E77C-B75B-4648-AAD8-E34B669EE4DB}" dt="2022-04-21T10:02:50.942" v="11252" actId="1076"/>
          <ac:spMkLst>
            <pc:docMk/>
            <pc:sldMk cId="3282791203" sldId="2704"/>
            <ac:spMk id="70" creationId="{E8E510CC-D6AA-CA45-8B34-576047CD592F}"/>
          </ac:spMkLst>
        </pc:spChg>
        <pc:spChg chg="mod">
          <ac:chgData name="Stina Torell" userId="42ae74f8-9b92-4847-96bc-2e51e5bf7907" providerId="ADAL" clId="{8222E77C-B75B-4648-AAD8-E34B669EE4DB}" dt="2022-04-21T10:02:50.942" v="11252" actId="1076"/>
          <ac:spMkLst>
            <pc:docMk/>
            <pc:sldMk cId="3282791203" sldId="2704"/>
            <ac:spMk id="71" creationId="{9DED6606-68C2-EF4C-8CE1-9E73854774D3}"/>
          </ac:spMkLst>
        </pc:spChg>
        <pc:spChg chg="mod">
          <ac:chgData name="Stina Torell" userId="42ae74f8-9b92-4847-96bc-2e51e5bf7907" providerId="ADAL" clId="{8222E77C-B75B-4648-AAD8-E34B669EE4DB}" dt="2022-04-21T10:02:50.942" v="11252" actId="1076"/>
          <ac:spMkLst>
            <pc:docMk/>
            <pc:sldMk cId="3282791203" sldId="2704"/>
            <ac:spMk id="72" creationId="{DAADC672-F136-B04C-B872-E7771CD32584}"/>
          </ac:spMkLst>
        </pc:spChg>
        <pc:spChg chg="mod">
          <ac:chgData name="Stina Torell" userId="42ae74f8-9b92-4847-96bc-2e51e5bf7907" providerId="ADAL" clId="{8222E77C-B75B-4648-AAD8-E34B669EE4DB}" dt="2022-04-21T10:02:50.942" v="11252" actId="1076"/>
          <ac:spMkLst>
            <pc:docMk/>
            <pc:sldMk cId="3282791203" sldId="2704"/>
            <ac:spMk id="73" creationId="{F82F2127-BEAD-2749-BCC2-A8AEF17106E8}"/>
          </ac:spMkLst>
        </pc:spChg>
        <pc:spChg chg="add del mod">
          <ac:chgData name="Stina Torell" userId="42ae74f8-9b92-4847-96bc-2e51e5bf7907" providerId="ADAL" clId="{8222E77C-B75B-4648-AAD8-E34B669EE4DB}" dt="2022-04-21T09:56:54.997" v="11142" actId="478"/>
          <ac:spMkLst>
            <pc:docMk/>
            <pc:sldMk cId="3282791203" sldId="2704"/>
            <ac:spMk id="74" creationId="{3E9EBD36-4C66-E943-AA95-D4DE12DECD0C}"/>
          </ac:spMkLst>
        </pc:spChg>
        <pc:spChg chg="add mod">
          <ac:chgData name="Stina Torell" userId="42ae74f8-9b92-4847-96bc-2e51e5bf7907" providerId="ADAL" clId="{8222E77C-B75B-4648-AAD8-E34B669EE4DB}" dt="2022-04-21T10:03:52.738" v="11264" actId="1035"/>
          <ac:spMkLst>
            <pc:docMk/>
            <pc:sldMk cId="3282791203" sldId="2704"/>
            <ac:spMk id="75" creationId="{A5465850-60BE-104D-9E3A-2D5159E7FE2F}"/>
          </ac:spMkLst>
        </pc:spChg>
        <pc:spChg chg="mod topLvl">
          <ac:chgData name="Stina Torell" userId="42ae74f8-9b92-4847-96bc-2e51e5bf7907" providerId="ADAL" clId="{8222E77C-B75B-4648-AAD8-E34B669EE4DB}" dt="2022-04-21T10:02:50.942" v="11252" actId="1076"/>
          <ac:spMkLst>
            <pc:docMk/>
            <pc:sldMk cId="3282791203" sldId="2704"/>
            <ac:spMk id="149" creationId="{0F100644-7DAB-D943-960D-A5A096E0E9C2}"/>
          </ac:spMkLst>
        </pc:spChg>
        <pc:spChg chg="mod topLvl">
          <ac:chgData name="Stina Torell" userId="42ae74f8-9b92-4847-96bc-2e51e5bf7907" providerId="ADAL" clId="{8222E77C-B75B-4648-AAD8-E34B669EE4DB}" dt="2022-04-21T10:02:50.942" v="11252" actId="1076"/>
          <ac:spMkLst>
            <pc:docMk/>
            <pc:sldMk cId="3282791203" sldId="2704"/>
            <ac:spMk id="150" creationId="{9678B72A-0E4E-8946-A8C6-8ED1530570C6}"/>
          </ac:spMkLst>
        </pc:spChg>
        <pc:spChg chg="mod topLvl">
          <ac:chgData name="Stina Torell" userId="42ae74f8-9b92-4847-96bc-2e51e5bf7907" providerId="ADAL" clId="{8222E77C-B75B-4648-AAD8-E34B669EE4DB}" dt="2022-04-21T10:02:50.942" v="11252" actId="1076"/>
          <ac:spMkLst>
            <pc:docMk/>
            <pc:sldMk cId="3282791203" sldId="2704"/>
            <ac:spMk id="151" creationId="{C098B728-F30A-DB43-BB49-0789BCE1969F}"/>
          </ac:spMkLst>
        </pc:spChg>
        <pc:spChg chg="mod">
          <ac:chgData name="Stina Torell" userId="42ae74f8-9b92-4847-96bc-2e51e5bf7907" providerId="ADAL" clId="{8222E77C-B75B-4648-AAD8-E34B669EE4DB}" dt="2022-04-26T07:00:42.624" v="11472" actId="20577"/>
          <ac:spMkLst>
            <pc:docMk/>
            <pc:sldMk cId="3282791203" sldId="2704"/>
            <ac:spMk id="169" creationId="{3BCE4EDB-464B-834C-9F8B-720A14EB10C9}"/>
          </ac:spMkLst>
        </pc:spChg>
        <pc:spChg chg="mod topLvl">
          <ac:chgData name="Stina Torell" userId="42ae74f8-9b92-4847-96bc-2e51e5bf7907" providerId="ADAL" clId="{8222E77C-B75B-4648-AAD8-E34B669EE4DB}" dt="2022-04-21T10:02:50.942" v="11252" actId="1076"/>
          <ac:spMkLst>
            <pc:docMk/>
            <pc:sldMk cId="3282791203" sldId="2704"/>
            <ac:spMk id="10259" creationId="{2AC7689B-D4C2-2F41-A841-487CEBF532A8}"/>
          </ac:spMkLst>
        </pc:spChg>
        <pc:grpChg chg="del mod">
          <ac:chgData name="Stina Torell" userId="42ae74f8-9b92-4847-96bc-2e51e5bf7907" providerId="ADAL" clId="{8222E77C-B75B-4648-AAD8-E34B669EE4DB}" dt="2022-04-21T09:57:18.683" v="11143" actId="165"/>
          <ac:grpSpMkLst>
            <pc:docMk/>
            <pc:sldMk cId="3282791203" sldId="2704"/>
            <ac:grpSpMk id="3" creationId="{DBA7D5FC-EF50-BD46-9B14-8FC4B4ADA677}"/>
          </ac:grpSpMkLst>
        </pc:grpChg>
        <pc:grpChg chg="add mod">
          <ac:chgData name="Stina Torell" userId="42ae74f8-9b92-4847-96bc-2e51e5bf7907" providerId="ADAL" clId="{8222E77C-B75B-4648-AAD8-E34B669EE4DB}" dt="2022-04-21T10:02:50.942" v="11252" actId="1076"/>
          <ac:grpSpMkLst>
            <pc:docMk/>
            <pc:sldMk cId="3282791203" sldId="2704"/>
            <ac:grpSpMk id="10" creationId="{D732700D-A858-9D42-BFA3-DDC39289D819}"/>
          </ac:grpSpMkLst>
        </pc:grpChg>
        <pc:grpChg chg="mod topLvl">
          <ac:chgData name="Stina Torell" userId="42ae74f8-9b92-4847-96bc-2e51e5bf7907" providerId="ADAL" clId="{8222E77C-B75B-4648-AAD8-E34B669EE4DB}" dt="2022-04-21T10:02:50.942" v="11252" actId="1076"/>
          <ac:grpSpMkLst>
            <pc:docMk/>
            <pc:sldMk cId="3282791203" sldId="2704"/>
            <ac:grpSpMk id="51" creationId="{9F3873D0-96B8-154A-A9D5-FE9833F0022B}"/>
          </ac:grpSpMkLst>
        </pc:grpChg>
        <pc:graphicFrameChg chg="del">
          <ac:chgData name="Stina Torell" userId="42ae74f8-9b92-4847-96bc-2e51e5bf7907" providerId="ADAL" clId="{8222E77C-B75B-4648-AAD8-E34B669EE4DB}" dt="2022-04-21T09:52:45.510" v="10990" actId="478"/>
          <ac:graphicFrameMkLst>
            <pc:docMk/>
            <pc:sldMk cId="3282791203" sldId="2704"/>
            <ac:graphicFrameMk id="64" creationId="{74FE6E5E-BF25-2C4A-BFB6-07C77A7B2A86}"/>
          </ac:graphicFrameMkLst>
        </pc:graphicFrameChg>
        <pc:graphicFrameChg chg="add mod">
          <ac:chgData name="Stina Torell" userId="42ae74f8-9b92-4847-96bc-2e51e5bf7907" providerId="ADAL" clId="{8222E77C-B75B-4648-AAD8-E34B669EE4DB}" dt="2022-04-21T10:02:50.942" v="11252" actId="1076"/>
          <ac:graphicFrameMkLst>
            <pc:docMk/>
            <pc:sldMk cId="3282791203" sldId="2704"/>
            <ac:graphicFrameMk id="67" creationId="{5EC13A84-3F73-E746-BEDF-AE26F88FD84D}"/>
          </ac:graphicFrameMkLst>
        </pc:graphicFrameChg>
        <pc:picChg chg="mod topLvl">
          <ac:chgData name="Stina Torell" userId="42ae74f8-9b92-4847-96bc-2e51e5bf7907" providerId="ADAL" clId="{8222E77C-B75B-4648-AAD8-E34B669EE4DB}" dt="2022-04-21T10:02:50.942" v="11252" actId="1076"/>
          <ac:picMkLst>
            <pc:docMk/>
            <pc:sldMk cId="3282791203" sldId="2704"/>
            <ac:picMk id="12" creationId="{9AEACF0E-F1B9-C64B-BB76-301512F83F51}"/>
          </ac:picMkLst>
        </pc:picChg>
        <pc:picChg chg="mod topLvl">
          <ac:chgData name="Stina Torell" userId="42ae74f8-9b92-4847-96bc-2e51e5bf7907" providerId="ADAL" clId="{8222E77C-B75B-4648-AAD8-E34B669EE4DB}" dt="2022-04-21T10:02:50.942" v="11252" actId="1076"/>
          <ac:picMkLst>
            <pc:docMk/>
            <pc:sldMk cId="3282791203" sldId="2704"/>
            <ac:picMk id="13" creationId="{6855B6E9-FAA7-E44A-A8C6-6E0D2D33DF75}"/>
          </ac:picMkLst>
        </pc:picChg>
        <pc:picChg chg="mod topLvl">
          <ac:chgData name="Stina Torell" userId="42ae74f8-9b92-4847-96bc-2e51e5bf7907" providerId="ADAL" clId="{8222E77C-B75B-4648-AAD8-E34B669EE4DB}" dt="2022-04-21T10:02:50.942" v="11252" actId="1076"/>
          <ac:picMkLst>
            <pc:docMk/>
            <pc:sldMk cId="3282791203" sldId="2704"/>
            <ac:picMk id="14" creationId="{CF6B38C6-FC2E-124C-B475-7479C909D4CA}"/>
          </ac:picMkLst>
        </pc:picChg>
        <pc:picChg chg="mod topLvl">
          <ac:chgData name="Stina Torell" userId="42ae74f8-9b92-4847-96bc-2e51e5bf7907" providerId="ADAL" clId="{8222E77C-B75B-4648-AAD8-E34B669EE4DB}" dt="2022-04-21T10:02:50.942" v="11252" actId="1076"/>
          <ac:picMkLst>
            <pc:docMk/>
            <pc:sldMk cId="3282791203" sldId="2704"/>
            <ac:picMk id="20" creationId="{2EA5A782-3E86-9E4B-A10D-52DD46893DA0}"/>
          </ac:picMkLst>
        </pc:picChg>
        <pc:picChg chg="mod topLvl">
          <ac:chgData name="Stina Torell" userId="42ae74f8-9b92-4847-96bc-2e51e5bf7907" providerId="ADAL" clId="{8222E77C-B75B-4648-AAD8-E34B669EE4DB}" dt="2022-04-21T10:02:50.942" v="11252" actId="1076"/>
          <ac:picMkLst>
            <pc:docMk/>
            <pc:sldMk cId="3282791203" sldId="2704"/>
            <ac:picMk id="21" creationId="{750927E8-ADAA-8E46-B5C9-CE5490242712}"/>
          </ac:picMkLst>
        </pc:picChg>
        <pc:picChg chg="mod topLvl">
          <ac:chgData name="Stina Torell" userId="42ae74f8-9b92-4847-96bc-2e51e5bf7907" providerId="ADAL" clId="{8222E77C-B75B-4648-AAD8-E34B669EE4DB}" dt="2022-04-21T10:02:50.942" v="11252" actId="1076"/>
          <ac:picMkLst>
            <pc:docMk/>
            <pc:sldMk cId="3282791203" sldId="2704"/>
            <ac:picMk id="22" creationId="{BB85DB49-85C8-0C4B-9860-BCAFE1C4D741}"/>
          </ac:picMkLst>
        </pc:picChg>
        <pc:picChg chg="mod topLvl">
          <ac:chgData name="Stina Torell" userId="42ae74f8-9b92-4847-96bc-2e51e5bf7907" providerId="ADAL" clId="{8222E77C-B75B-4648-AAD8-E34B669EE4DB}" dt="2022-04-21T10:02:50.942" v="11252" actId="1076"/>
          <ac:picMkLst>
            <pc:docMk/>
            <pc:sldMk cId="3282791203" sldId="2704"/>
            <ac:picMk id="23" creationId="{1CC8C004-9D8A-5144-A5F8-7FAF193492C4}"/>
          </ac:picMkLst>
        </pc:picChg>
        <pc:picChg chg="mod topLvl">
          <ac:chgData name="Stina Torell" userId="42ae74f8-9b92-4847-96bc-2e51e5bf7907" providerId="ADAL" clId="{8222E77C-B75B-4648-AAD8-E34B669EE4DB}" dt="2022-04-21T10:02:50.942" v="11252" actId="1076"/>
          <ac:picMkLst>
            <pc:docMk/>
            <pc:sldMk cId="3282791203" sldId="2704"/>
            <ac:picMk id="24" creationId="{B3244B08-A506-D148-B64A-48FD09F67FFF}"/>
          </ac:picMkLst>
        </pc:picChg>
        <pc:picChg chg="mod topLvl">
          <ac:chgData name="Stina Torell" userId="42ae74f8-9b92-4847-96bc-2e51e5bf7907" providerId="ADAL" clId="{8222E77C-B75B-4648-AAD8-E34B669EE4DB}" dt="2022-04-21T10:02:50.942" v="11252" actId="1076"/>
          <ac:picMkLst>
            <pc:docMk/>
            <pc:sldMk cId="3282791203" sldId="2704"/>
            <ac:picMk id="25" creationId="{8778531E-4EA1-D845-89DF-4622E69E3EB4}"/>
          </ac:picMkLst>
        </pc:picChg>
        <pc:picChg chg="mod topLvl">
          <ac:chgData name="Stina Torell" userId="42ae74f8-9b92-4847-96bc-2e51e5bf7907" providerId="ADAL" clId="{8222E77C-B75B-4648-AAD8-E34B669EE4DB}" dt="2022-04-21T10:02:50.942" v="11252" actId="1076"/>
          <ac:picMkLst>
            <pc:docMk/>
            <pc:sldMk cId="3282791203" sldId="2704"/>
            <ac:picMk id="26" creationId="{6B0EF2C4-CD20-C846-A759-34F2F3614AA7}"/>
          </ac:picMkLst>
        </pc:picChg>
        <pc:picChg chg="mod topLvl">
          <ac:chgData name="Stina Torell" userId="42ae74f8-9b92-4847-96bc-2e51e5bf7907" providerId="ADAL" clId="{8222E77C-B75B-4648-AAD8-E34B669EE4DB}" dt="2022-04-21T10:02:50.942" v="11252" actId="1076"/>
          <ac:picMkLst>
            <pc:docMk/>
            <pc:sldMk cId="3282791203" sldId="2704"/>
            <ac:picMk id="27" creationId="{D92A2765-248D-854F-8FC0-F5332E46F4AF}"/>
          </ac:picMkLst>
        </pc:picChg>
        <pc:picChg chg="mod topLvl">
          <ac:chgData name="Stina Torell" userId="42ae74f8-9b92-4847-96bc-2e51e5bf7907" providerId="ADAL" clId="{8222E77C-B75B-4648-AAD8-E34B669EE4DB}" dt="2022-04-21T10:02:50.942" v="11252" actId="1076"/>
          <ac:picMkLst>
            <pc:docMk/>
            <pc:sldMk cId="3282791203" sldId="2704"/>
            <ac:picMk id="28" creationId="{9B641675-90B6-E64B-ADB4-68ACDA9B3428}"/>
          </ac:picMkLst>
        </pc:picChg>
        <pc:picChg chg="mod topLvl">
          <ac:chgData name="Stina Torell" userId="42ae74f8-9b92-4847-96bc-2e51e5bf7907" providerId="ADAL" clId="{8222E77C-B75B-4648-AAD8-E34B669EE4DB}" dt="2022-04-21T10:02:50.942" v="11252" actId="1076"/>
          <ac:picMkLst>
            <pc:docMk/>
            <pc:sldMk cId="3282791203" sldId="2704"/>
            <ac:picMk id="29" creationId="{A90C116B-7855-004D-855C-7A599A4347FD}"/>
          </ac:picMkLst>
        </pc:picChg>
        <pc:picChg chg="mod topLvl">
          <ac:chgData name="Stina Torell" userId="42ae74f8-9b92-4847-96bc-2e51e5bf7907" providerId="ADAL" clId="{8222E77C-B75B-4648-AAD8-E34B669EE4DB}" dt="2022-04-21T10:02:50.942" v="11252" actId="1076"/>
          <ac:picMkLst>
            <pc:docMk/>
            <pc:sldMk cId="3282791203" sldId="2704"/>
            <ac:picMk id="30" creationId="{FAFB4F2C-F770-534D-B267-2EA2D9F7560B}"/>
          </ac:picMkLst>
        </pc:picChg>
        <pc:picChg chg="mod topLvl">
          <ac:chgData name="Stina Torell" userId="42ae74f8-9b92-4847-96bc-2e51e5bf7907" providerId="ADAL" clId="{8222E77C-B75B-4648-AAD8-E34B669EE4DB}" dt="2022-04-21T10:02:50.942" v="11252" actId="1076"/>
          <ac:picMkLst>
            <pc:docMk/>
            <pc:sldMk cId="3282791203" sldId="2704"/>
            <ac:picMk id="31" creationId="{2ED15B16-F4E6-0B47-8605-ACE0A8AE881E}"/>
          </ac:picMkLst>
        </pc:picChg>
        <pc:picChg chg="mod topLvl">
          <ac:chgData name="Stina Torell" userId="42ae74f8-9b92-4847-96bc-2e51e5bf7907" providerId="ADAL" clId="{8222E77C-B75B-4648-AAD8-E34B669EE4DB}" dt="2022-04-21T10:02:50.942" v="11252" actId="1076"/>
          <ac:picMkLst>
            <pc:docMk/>
            <pc:sldMk cId="3282791203" sldId="2704"/>
            <ac:picMk id="32" creationId="{94A2715B-38F2-554B-A349-B5765EC2A780}"/>
          </ac:picMkLst>
        </pc:picChg>
        <pc:picChg chg="mod topLvl">
          <ac:chgData name="Stina Torell" userId="42ae74f8-9b92-4847-96bc-2e51e5bf7907" providerId="ADAL" clId="{8222E77C-B75B-4648-AAD8-E34B669EE4DB}" dt="2022-04-21T09:57:18.683" v="11143" actId="165"/>
          <ac:picMkLst>
            <pc:docMk/>
            <pc:sldMk cId="3282791203" sldId="2704"/>
            <ac:picMk id="33" creationId="{195D86FF-4C50-0B4B-81F5-5C60FF8FCBD4}"/>
          </ac:picMkLst>
        </pc:picChg>
        <pc:picChg chg="mod topLvl">
          <ac:chgData name="Stina Torell" userId="42ae74f8-9b92-4847-96bc-2e51e5bf7907" providerId="ADAL" clId="{8222E77C-B75B-4648-AAD8-E34B669EE4DB}" dt="2022-04-21T10:02:50.942" v="11252" actId="1076"/>
          <ac:picMkLst>
            <pc:docMk/>
            <pc:sldMk cId="3282791203" sldId="2704"/>
            <ac:picMk id="34" creationId="{1C6BC73F-EAC0-7C4B-9815-0E652C1F1B03}"/>
          </ac:picMkLst>
        </pc:picChg>
        <pc:picChg chg="mod topLvl">
          <ac:chgData name="Stina Torell" userId="42ae74f8-9b92-4847-96bc-2e51e5bf7907" providerId="ADAL" clId="{8222E77C-B75B-4648-AAD8-E34B669EE4DB}" dt="2022-04-21T10:02:50.942" v="11252" actId="1076"/>
          <ac:picMkLst>
            <pc:docMk/>
            <pc:sldMk cId="3282791203" sldId="2704"/>
            <ac:picMk id="35" creationId="{886490CC-C2C5-AC4A-BEB3-FBE52097EBB2}"/>
          </ac:picMkLst>
        </pc:picChg>
        <pc:picChg chg="mod topLvl">
          <ac:chgData name="Stina Torell" userId="42ae74f8-9b92-4847-96bc-2e51e5bf7907" providerId="ADAL" clId="{8222E77C-B75B-4648-AAD8-E34B669EE4DB}" dt="2022-04-21T10:02:50.942" v="11252" actId="1076"/>
          <ac:picMkLst>
            <pc:docMk/>
            <pc:sldMk cId="3282791203" sldId="2704"/>
            <ac:picMk id="36" creationId="{2C9ED7AD-80A1-7F49-B66F-C168C2067B1A}"/>
          </ac:picMkLst>
        </pc:picChg>
        <pc:picChg chg="mod topLvl">
          <ac:chgData name="Stina Torell" userId="42ae74f8-9b92-4847-96bc-2e51e5bf7907" providerId="ADAL" clId="{8222E77C-B75B-4648-AAD8-E34B669EE4DB}" dt="2022-04-21T10:02:50.942" v="11252" actId="1076"/>
          <ac:picMkLst>
            <pc:docMk/>
            <pc:sldMk cId="3282791203" sldId="2704"/>
            <ac:picMk id="37" creationId="{7B62EED2-19F1-CA49-885E-85A2BF561493}"/>
          </ac:picMkLst>
        </pc:picChg>
        <pc:picChg chg="mod topLvl">
          <ac:chgData name="Stina Torell" userId="42ae74f8-9b92-4847-96bc-2e51e5bf7907" providerId="ADAL" clId="{8222E77C-B75B-4648-AAD8-E34B669EE4DB}" dt="2022-04-21T10:02:50.942" v="11252" actId="1076"/>
          <ac:picMkLst>
            <pc:docMk/>
            <pc:sldMk cId="3282791203" sldId="2704"/>
            <ac:picMk id="38" creationId="{DCD09EF8-8D88-B94A-B5E9-002EF39E21F4}"/>
          </ac:picMkLst>
        </pc:picChg>
        <pc:picChg chg="mod">
          <ac:chgData name="Stina Torell" userId="42ae74f8-9b92-4847-96bc-2e51e5bf7907" providerId="ADAL" clId="{8222E77C-B75B-4648-AAD8-E34B669EE4DB}" dt="2022-04-21T10:02:50.942" v="11252" actId="1076"/>
          <ac:picMkLst>
            <pc:docMk/>
            <pc:sldMk cId="3282791203" sldId="2704"/>
            <ac:picMk id="40" creationId="{36E1E9DA-8098-704E-AEA1-90A63F86D664}"/>
          </ac:picMkLst>
        </pc:picChg>
        <pc:picChg chg="mod topLvl">
          <ac:chgData name="Stina Torell" userId="42ae74f8-9b92-4847-96bc-2e51e5bf7907" providerId="ADAL" clId="{8222E77C-B75B-4648-AAD8-E34B669EE4DB}" dt="2022-04-21T10:02:50.942" v="11252" actId="1076"/>
          <ac:picMkLst>
            <pc:docMk/>
            <pc:sldMk cId="3282791203" sldId="2704"/>
            <ac:picMk id="41" creationId="{4919FEF4-1752-CF4E-AECD-CCD8228B0BB3}"/>
          </ac:picMkLst>
        </pc:picChg>
        <pc:picChg chg="mod topLvl">
          <ac:chgData name="Stina Torell" userId="42ae74f8-9b92-4847-96bc-2e51e5bf7907" providerId="ADAL" clId="{8222E77C-B75B-4648-AAD8-E34B669EE4DB}" dt="2022-04-21T10:02:50.942" v="11252" actId="1076"/>
          <ac:picMkLst>
            <pc:docMk/>
            <pc:sldMk cId="3282791203" sldId="2704"/>
            <ac:picMk id="42" creationId="{2DD57A05-EBC7-8045-908E-234466AE78B6}"/>
          </ac:picMkLst>
        </pc:picChg>
        <pc:picChg chg="mod topLvl">
          <ac:chgData name="Stina Torell" userId="42ae74f8-9b92-4847-96bc-2e51e5bf7907" providerId="ADAL" clId="{8222E77C-B75B-4648-AAD8-E34B669EE4DB}" dt="2022-04-21T10:02:50.942" v="11252" actId="1076"/>
          <ac:picMkLst>
            <pc:docMk/>
            <pc:sldMk cId="3282791203" sldId="2704"/>
            <ac:picMk id="43" creationId="{BFFE99A9-029F-B542-BD13-47AC18136568}"/>
          </ac:picMkLst>
        </pc:picChg>
        <pc:picChg chg="mod topLvl">
          <ac:chgData name="Stina Torell" userId="42ae74f8-9b92-4847-96bc-2e51e5bf7907" providerId="ADAL" clId="{8222E77C-B75B-4648-AAD8-E34B669EE4DB}" dt="2022-04-21T10:02:50.942" v="11252" actId="1076"/>
          <ac:picMkLst>
            <pc:docMk/>
            <pc:sldMk cId="3282791203" sldId="2704"/>
            <ac:picMk id="44" creationId="{97D15FF5-88E9-B54A-B1AD-D910848909CF}"/>
          </ac:picMkLst>
        </pc:picChg>
        <pc:picChg chg="mod topLvl">
          <ac:chgData name="Stina Torell" userId="42ae74f8-9b92-4847-96bc-2e51e5bf7907" providerId="ADAL" clId="{8222E77C-B75B-4648-AAD8-E34B669EE4DB}" dt="2022-04-21T10:02:50.942" v="11252" actId="1076"/>
          <ac:picMkLst>
            <pc:docMk/>
            <pc:sldMk cId="3282791203" sldId="2704"/>
            <ac:picMk id="45" creationId="{82585ADC-54E6-DA4C-93D8-B3FB6461CE78}"/>
          </ac:picMkLst>
        </pc:picChg>
        <pc:picChg chg="mod topLvl">
          <ac:chgData name="Stina Torell" userId="42ae74f8-9b92-4847-96bc-2e51e5bf7907" providerId="ADAL" clId="{8222E77C-B75B-4648-AAD8-E34B669EE4DB}" dt="2022-04-21T10:02:50.942" v="11252" actId="1076"/>
          <ac:picMkLst>
            <pc:docMk/>
            <pc:sldMk cId="3282791203" sldId="2704"/>
            <ac:picMk id="47" creationId="{4BD34C75-802B-C644-9A29-A03E8B1547DC}"/>
          </ac:picMkLst>
        </pc:picChg>
        <pc:picChg chg="mod topLvl">
          <ac:chgData name="Stina Torell" userId="42ae74f8-9b92-4847-96bc-2e51e5bf7907" providerId="ADAL" clId="{8222E77C-B75B-4648-AAD8-E34B669EE4DB}" dt="2022-04-21T10:02:50.942" v="11252" actId="1076"/>
          <ac:picMkLst>
            <pc:docMk/>
            <pc:sldMk cId="3282791203" sldId="2704"/>
            <ac:picMk id="48" creationId="{C72B7C88-A5F1-434A-B2EA-46DB266AB686}"/>
          </ac:picMkLst>
        </pc:picChg>
        <pc:picChg chg="mod topLvl">
          <ac:chgData name="Stina Torell" userId="42ae74f8-9b92-4847-96bc-2e51e5bf7907" providerId="ADAL" clId="{8222E77C-B75B-4648-AAD8-E34B669EE4DB}" dt="2022-04-21T10:02:50.942" v="11252" actId="1076"/>
          <ac:picMkLst>
            <pc:docMk/>
            <pc:sldMk cId="3282791203" sldId="2704"/>
            <ac:picMk id="49" creationId="{4C8AB045-F632-6D4C-B38E-06A52F73270F}"/>
          </ac:picMkLst>
        </pc:picChg>
        <pc:picChg chg="mod topLvl">
          <ac:chgData name="Stina Torell" userId="42ae74f8-9b92-4847-96bc-2e51e5bf7907" providerId="ADAL" clId="{8222E77C-B75B-4648-AAD8-E34B669EE4DB}" dt="2022-04-21T10:02:50.942" v="11252" actId="1076"/>
          <ac:picMkLst>
            <pc:docMk/>
            <pc:sldMk cId="3282791203" sldId="2704"/>
            <ac:picMk id="54" creationId="{6489B38F-12E7-1842-B26E-F273F9987680}"/>
          </ac:picMkLst>
        </pc:picChg>
        <pc:picChg chg="mod topLvl">
          <ac:chgData name="Stina Torell" userId="42ae74f8-9b92-4847-96bc-2e51e5bf7907" providerId="ADAL" clId="{8222E77C-B75B-4648-AAD8-E34B669EE4DB}" dt="2022-04-21T10:02:50.942" v="11252" actId="1076"/>
          <ac:picMkLst>
            <pc:docMk/>
            <pc:sldMk cId="3282791203" sldId="2704"/>
            <ac:picMk id="10242" creationId="{FC2FCB1F-7524-BE4C-8508-D120D9F3F55C}"/>
          </ac:picMkLst>
        </pc:picChg>
        <pc:picChg chg="mod topLvl">
          <ac:chgData name="Stina Torell" userId="42ae74f8-9b92-4847-96bc-2e51e5bf7907" providerId="ADAL" clId="{8222E77C-B75B-4648-AAD8-E34B669EE4DB}" dt="2022-04-21T10:02:50.942" v="11252" actId="1076"/>
          <ac:picMkLst>
            <pc:docMk/>
            <pc:sldMk cId="3282791203" sldId="2704"/>
            <ac:picMk id="10244" creationId="{17E16435-DED2-0849-81B8-D3538601AC4D}"/>
          </ac:picMkLst>
        </pc:picChg>
        <pc:picChg chg="mod topLvl">
          <ac:chgData name="Stina Torell" userId="42ae74f8-9b92-4847-96bc-2e51e5bf7907" providerId="ADAL" clId="{8222E77C-B75B-4648-AAD8-E34B669EE4DB}" dt="2022-04-21T10:02:50.942" v="11252" actId="1076"/>
          <ac:picMkLst>
            <pc:docMk/>
            <pc:sldMk cId="3282791203" sldId="2704"/>
            <ac:picMk id="10250" creationId="{B1F6D304-B112-624D-9D1C-54D92EBCB465}"/>
          </ac:picMkLst>
        </pc:picChg>
        <pc:cxnChg chg="mod topLvl">
          <ac:chgData name="Stina Torell" userId="42ae74f8-9b92-4847-96bc-2e51e5bf7907" providerId="ADAL" clId="{8222E77C-B75B-4648-AAD8-E34B669EE4DB}" dt="2022-04-21T10:02:50.942" v="11252" actId="1076"/>
          <ac:cxnSpMkLst>
            <pc:docMk/>
            <pc:sldMk cId="3282791203" sldId="2704"/>
            <ac:cxnSpMk id="61" creationId="{AB905137-351B-CF4C-A927-785953744242}"/>
          </ac:cxnSpMkLst>
        </pc:cxnChg>
        <pc:cxnChg chg="mod topLvl">
          <ac:chgData name="Stina Torell" userId="42ae74f8-9b92-4847-96bc-2e51e5bf7907" providerId="ADAL" clId="{8222E77C-B75B-4648-AAD8-E34B669EE4DB}" dt="2022-04-21T10:02:50.942" v="11252" actId="1076"/>
          <ac:cxnSpMkLst>
            <pc:docMk/>
            <pc:sldMk cId="3282791203" sldId="2704"/>
            <ac:cxnSpMk id="62" creationId="{D99ACF8E-E9B6-264D-8BB3-BB0CAC70F184}"/>
          </ac:cxnSpMkLst>
        </pc:cxnChg>
        <pc:cxnChg chg="mod topLvl">
          <ac:chgData name="Stina Torell" userId="42ae74f8-9b92-4847-96bc-2e51e5bf7907" providerId="ADAL" clId="{8222E77C-B75B-4648-AAD8-E34B669EE4DB}" dt="2022-04-21T10:02:50.942" v="11252" actId="1076"/>
          <ac:cxnSpMkLst>
            <pc:docMk/>
            <pc:sldMk cId="3282791203" sldId="2704"/>
            <ac:cxnSpMk id="89" creationId="{6B661C22-D728-5C41-AED4-163D7528D73F}"/>
          </ac:cxnSpMkLst>
        </pc:cxnChg>
        <pc:cxnChg chg="mod topLvl">
          <ac:chgData name="Stina Torell" userId="42ae74f8-9b92-4847-96bc-2e51e5bf7907" providerId="ADAL" clId="{8222E77C-B75B-4648-AAD8-E34B669EE4DB}" dt="2022-04-21T10:02:50.942" v="11252" actId="1076"/>
          <ac:cxnSpMkLst>
            <pc:docMk/>
            <pc:sldMk cId="3282791203" sldId="2704"/>
            <ac:cxnSpMk id="93" creationId="{FA8DDE45-8B11-0A42-968D-EC00F033F593}"/>
          </ac:cxnSpMkLst>
        </pc:cxnChg>
        <pc:cxnChg chg="mod topLvl">
          <ac:chgData name="Stina Torell" userId="42ae74f8-9b92-4847-96bc-2e51e5bf7907" providerId="ADAL" clId="{8222E77C-B75B-4648-AAD8-E34B669EE4DB}" dt="2022-04-21T10:02:50.942" v="11252" actId="1076"/>
          <ac:cxnSpMkLst>
            <pc:docMk/>
            <pc:sldMk cId="3282791203" sldId="2704"/>
            <ac:cxnSpMk id="10263" creationId="{C6F43877-ADA4-2F40-94DC-833B6794AFCB}"/>
          </ac:cxnSpMkLst>
        </pc:cxnChg>
      </pc:sldChg>
      <pc:sldChg chg="modSp mod modCm">
        <pc:chgData name="Stina Torell" userId="42ae74f8-9b92-4847-96bc-2e51e5bf7907" providerId="ADAL" clId="{8222E77C-B75B-4648-AAD8-E34B669EE4DB}" dt="2022-04-26T15:07:51.016" v="11571" actId="1036"/>
        <pc:sldMkLst>
          <pc:docMk/>
          <pc:sldMk cId="84941987" sldId="2707"/>
        </pc:sldMkLst>
        <pc:spChg chg="mod">
          <ac:chgData name="Stina Torell" userId="42ae74f8-9b92-4847-96bc-2e51e5bf7907" providerId="ADAL" clId="{8222E77C-B75B-4648-AAD8-E34B669EE4DB}" dt="2022-04-26T15:07:51.016" v="11571" actId="1036"/>
          <ac:spMkLst>
            <pc:docMk/>
            <pc:sldMk cId="84941987" sldId="2707"/>
            <ac:spMk id="4" creationId="{7C6A233E-1FA7-D04B-8812-C19A957C93CD}"/>
          </ac:spMkLst>
        </pc:spChg>
        <pc:spChg chg="mod">
          <ac:chgData name="Stina Torell" userId="42ae74f8-9b92-4847-96bc-2e51e5bf7907" providerId="ADAL" clId="{8222E77C-B75B-4648-AAD8-E34B669EE4DB}" dt="2022-04-26T15:07:51.016" v="11571" actId="1036"/>
          <ac:spMkLst>
            <pc:docMk/>
            <pc:sldMk cId="84941987" sldId="2707"/>
            <ac:spMk id="53" creationId="{D99A50ED-1BF4-1747-B1B6-FF8D31E81365}"/>
          </ac:spMkLst>
        </pc:spChg>
        <pc:spChg chg="mod">
          <ac:chgData name="Stina Torell" userId="42ae74f8-9b92-4847-96bc-2e51e5bf7907" providerId="ADAL" clId="{8222E77C-B75B-4648-AAD8-E34B669EE4DB}" dt="2022-04-26T15:07:51.016" v="11571" actId="1036"/>
          <ac:spMkLst>
            <pc:docMk/>
            <pc:sldMk cId="84941987" sldId="2707"/>
            <ac:spMk id="55" creationId="{6967590D-F8C9-9844-90D3-F6162B59465A}"/>
          </ac:spMkLst>
        </pc:spChg>
        <pc:spChg chg="mod">
          <ac:chgData name="Stina Torell" userId="42ae74f8-9b92-4847-96bc-2e51e5bf7907" providerId="ADAL" clId="{8222E77C-B75B-4648-AAD8-E34B669EE4DB}" dt="2022-04-26T15:07:51.016" v="11571" actId="1036"/>
          <ac:spMkLst>
            <pc:docMk/>
            <pc:sldMk cId="84941987" sldId="2707"/>
            <ac:spMk id="58" creationId="{FBE9B74A-7327-A545-800C-67B2E48887B9}"/>
          </ac:spMkLst>
        </pc:spChg>
        <pc:spChg chg="mod">
          <ac:chgData name="Stina Torell" userId="42ae74f8-9b92-4847-96bc-2e51e5bf7907" providerId="ADAL" clId="{8222E77C-B75B-4648-AAD8-E34B669EE4DB}" dt="2022-04-26T15:07:51.016" v="11571" actId="1036"/>
          <ac:spMkLst>
            <pc:docMk/>
            <pc:sldMk cId="84941987" sldId="2707"/>
            <ac:spMk id="60" creationId="{546E57BF-008A-6A49-B1DC-E079C7D576F4}"/>
          </ac:spMkLst>
        </pc:spChg>
        <pc:spChg chg="mod">
          <ac:chgData name="Stina Torell" userId="42ae74f8-9b92-4847-96bc-2e51e5bf7907" providerId="ADAL" clId="{8222E77C-B75B-4648-AAD8-E34B669EE4DB}" dt="2022-04-26T15:07:51.016" v="11571" actId="1036"/>
          <ac:spMkLst>
            <pc:docMk/>
            <pc:sldMk cId="84941987" sldId="2707"/>
            <ac:spMk id="68" creationId="{98647605-5B0C-0340-8D71-23339F985CE9}"/>
          </ac:spMkLst>
        </pc:spChg>
        <pc:spChg chg="mod">
          <ac:chgData name="Stina Torell" userId="42ae74f8-9b92-4847-96bc-2e51e5bf7907" providerId="ADAL" clId="{8222E77C-B75B-4648-AAD8-E34B669EE4DB}" dt="2022-04-26T15:07:51.016" v="11571" actId="1036"/>
          <ac:spMkLst>
            <pc:docMk/>
            <pc:sldMk cId="84941987" sldId="2707"/>
            <ac:spMk id="69" creationId="{CAC63E15-4DD7-2949-A9BD-CB9B2414315C}"/>
          </ac:spMkLst>
        </pc:spChg>
        <pc:spChg chg="mod">
          <ac:chgData name="Stina Torell" userId="42ae74f8-9b92-4847-96bc-2e51e5bf7907" providerId="ADAL" clId="{8222E77C-B75B-4648-AAD8-E34B669EE4DB}" dt="2022-04-26T15:07:51.016" v="11571" actId="1036"/>
          <ac:spMkLst>
            <pc:docMk/>
            <pc:sldMk cId="84941987" sldId="2707"/>
            <ac:spMk id="70" creationId="{E8E510CC-D6AA-CA45-8B34-576047CD592F}"/>
          </ac:spMkLst>
        </pc:spChg>
        <pc:spChg chg="mod">
          <ac:chgData name="Stina Torell" userId="42ae74f8-9b92-4847-96bc-2e51e5bf7907" providerId="ADAL" clId="{8222E77C-B75B-4648-AAD8-E34B669EE4DB}" dt="2022-04-26T15:07:51.016" v="11571" actId="1036"/>
          <ac:spMkLst>
            <pc:docMk/>
            <pc:sldMk cId="84941987" sldId="2707"/>
            <ac:spMk id="71" creationId="{9DED6606-68C2-EF4C-8CE1-9E73854774D3}"/>
          </ac:spMkLst>
        </pc:spChg>
        <pc:spChg chg="mod">
          <ac:chgData name="Stina Torell" userId="42ae74f8-9b92-4847-96bc-2e51e5bf7907" providerId="ADAL" clId="{8222E77C-B75B-4648-AAD8-E34B669EE4DB}" dt="2022-04-26T15:07:51.016" v="11571" actId="1036"/>
          <ac:spMkLst>
            <pc:docMk/>
            <pc:sldMk cId="84941987" sldId="2707"/>
            <ac:spMk id="72" creationId="{DAADC672-F136-B04C-B872-E7771CD32584}"/>
          </ac:spMkLst>
        </pc:spChg>
        <pc:spChg chg="mod">
          <ac:chgData name="Stina Torell" userId="42ae74f8-9b92-4847-96bc-2e51e5bf7907" providerId="ADAL" clId="{8222E77C-B75B-4648-AAD8-E34B669EE4DB}" dt="2022-04-26T15:07:51.016" v="11571" actId="1036"/>
          <ac:spMkLst>
            <pc:docMk/>
            <pc:sldMk cId="84941987" sldId="2707"/>
            <ac:spMk id="73" creationId="{F82F2127-BEAD-2749-BCC2-A8AEF17106E8}"/>
          </ac:spMkLst>
        </pc:spChg>
        <pc:spChg chg="mod">
          <ac:chgData name="Stina Torell" userId="42ae74f8-9b92-4847-96bc-2e51e5bf7907" providerId="ADAL" clId="{8222E77C-B75B-4648-AAD8-E34B669EE4DB}" dt="2022-04-26T15:07:51.016" v="11571" actId="1036"/>
          <ac:spMkLst>
            <pc:docMk/>
            <pc:sldMk cId="84941987" sldId="2707"/>
            <ac:spMk id="149" creationId="{0F100644-7DAB-D943-960D-A5A096E0E9C2}"/>
          </ac:spMkLst>
        </pc:spChg>
        <pc:spChg chg="mod">
          <ac:chgData name="Stina Torell" userId="42ae74f8-9b92-4847-96bc-2e51e5bf7907" providerId="ADAL" clId="{8222E77C-B75B-4648-AAD8-E34B669EE4DB}" dt="2022-04-26T15:07:51.016" v="11571" actId="1036"/>
          <ac:spMkLst>
            <pc:docMk/>
            <pc:sldMk cId="84941987" sldId="2707"/>
            <ac:spMk id="150" creationId="{9678B72A-0E4E-8946-A8C6-8ED1530570C6}"/>
          </ac:spMkLst>
        </pc:spChg>
        <pc:spChg chg="mod">
          <ac:chgData name="Stina Torell" userId="42ae74f8-9b92-4847-96bc-2e51e5bf7907" providerId="ADAL" clId="{8222E77C-B75B-4648-AAD8-E34B669EE4DB}" dt="2022-04-26T15:07:51.016" v="11571" actId="1036"/>
          <ac:spMkLst>
            <pc:docMk/>
            <pc:sldMk cId="84941987" sldId="2707"/>
            <ac:spMk id="151" creationId="{C098B728-F30A-DB43-BB49-0789BCE1969F}"/>
          </ac:spMkLst>
        </pc:spChg>
        <pc:spChg chg="mod">
          <ac:chgData name="Stina Torell" userId="42ae74f8-9b92-4847-96bc-2e51e5bf7907" providerId="ADAL" clId="{8222E77C-B75B-4648-AAD8-E34B669EE4DB}" dt="2022-04-26T15:07:51.016" v="11571" actId="1036"/>
          <ac:spMkLst>
            <pc:docMk/>
            <pc:sldMk cId="84941987" sldId="2707"/>
            <ac:spMk id="10259" creationId="{2AC7689B-D4C2-2F41-A841-487CEBF532A8}"/>
          </ac:spMkLst>
        </pc:spChg>
        <pc:grpChg chg="mod">
          <ac:chgData name="Stina Torell" userId="42ae74f8-9b92-4847-96bc-2e51e5bf7907" providerId="ADAL" clId="{8222E77C-B75B-4648-AAD8-E34B669EE4DB}" dt="2022-04-26T15:07:51.016" v="11571" actId="1036"/>
          <ac:grpSpMkLst>
            <pc:docMk/>
            <pc:sldMk cId="84941987" sldId="2707"/>
            <ac:grpSpMk id="10" creationId="{D732700D-A858-9D42-BFA3-DDC39289D819}"/>
          </ac:grpSpMkLst>
        </pc:grpChg>
        <pc:grpChg chg="mod">
          <ac:chgData name="Stina Torell" userId="42ae74f8-9b92-4847-96bc-2e51e5bf7907" providerId="ADAL" clId="{8222E77C-B75B-4648-AAD8-E34B669EE4DB}" dt="2022-04-26T15:07:51.016" v="11571" actId="1036"/>
          <ac:grpSpMkLst>
            <pc:docMk/>
            <pc:sldMk cId="84941987" sldId="2707"/>
            <ac:grpSpMk id="51" creationId="{9F3873D0-96B8-154A-A9D5-FE9833F0022B}"/>
          </ac:grpSpMkLst>
        </pc:grpChg>
        <pc:graphicFrameChg chg="mod">
          <ac:chgData name="Stina Torell" userId="42ae74f8-9b92-4847-96bc-2e51e5bf7907" providerId="ADAL" clId="{8222E77C-B75B-4648-AAD8-E34B669EE4DB}" dt="2022-04-26T15:07:51.016" v="11571" actId="1036"/>
          <ac:graphicFrameMkLst>
            <pc:docMk/>
            <pc:sldMk cId="84941987" sldId="2707"/>
            <ac:graphicFrameMk id="67" creationId="{5EC13A84-3F73-E746-BEDF-AE26F88FD84D}"/>
          </ac:graphicFrameMkLst>
        </pc:graphicFrameChg>
        <pc:picChg chg="mod">
          <ac:chgData name="Stina Torell" userId="42ae74f8-9b92-4847-96bc-2e51e5bf7907" providerId="ADAL" clId="{8222E77C-B75B-4648-AAD8-E34B669EE4DB}" dt="2022-04-26T15:07:51.016" v="11571" actId="1036"/>
          <ac:picMkLst>
            <pc:docMk/>
            <pc:sldMk cId="84941987" sldId="2707"/>
            <ac:picMk id="12" creationId="{9AEACF0E-F1B9-C64B-BB76-301512F83F51}"/>
          </ac:picMkLst>
        </pc:picChg>
        <pc:picChg chg="mod">
          <ac:chgData name="Stina Torell" userId="42ae74f8-9b92-4847-96bc-2e51e5bf7907" providerId="ADAL" clId="{8222E77C-B75B-4648-AAD8-E34B669EE4DB}" dt="2022-04-26T15:07:51.016" v="11571" actId="1036"/>
          <ac:picMkLst>
            <pc:docMk/>
            <pc:sldMk cId="84941987" sldId="2707"/>
            <ac:picMk id="13" creationId="{6855B6E9-FAA7-E44A-A8C6-6E0D2D33DF75}"/>
          </ac:picMkLst>
        </pc:picChg>
        <pc:picChg chg="mod">
          <ac:chgData name="Stina Torell" userId="42ae74f8-9b92-4847-96bc-2e51e5bf7907" providerId="ADAL" clId="{8222E77C-B75B-4648-AAD8-E34B669EE4DB}" dt="2022-04-26T15:07:51.016" v="11571" actId="1036"/>
          <ac:picMkLst>
            <pc:docMk/>
            <pc:sldMk cId="84941987" sldId="2707"/>
            <ac:picMk id="14" creationId="{CF6B38C6-FC2E-124C-B475-7479C909D4CA}"/>
          </ac:picMkLst>
        </pc:picChg>
        <pc:picChg chg="mod">
          <ac:chgData name="Stina Torell" userId="42ae74f8-9b92-4847-96bc-2e51e5bf7907" providerId="ADAL" clId="{8222E77C-B75B-4648-AAD8-E34B669EE4DB}" dt="2022-04-26T15:07:51.016" v="11571" actId="1036"/>
          <ac:picMkLst>
            <pc:docMk/>
            <pc:sldMk cId="84941987" sldId="2707"/>
            <ac:picMk id="20" creationId="{2EA5A782-3E86-9E4B-A10D-52DD46893DA0}"/>
          </ac:picMkLst>
        </pc:picChg>
        <pc:picChg chg="mod">
          <ac:chgData name="Stina Torell" userId="42ae74f8-9b92-4847-96bc-2e51e5bf7907" providerId="ADAL" clId="{8222E77C-B75B-4648-AAD8-E34B669EE4DB}" dt="2022-04-26T15:07:51.016" v="11571" actId="1036"/>
          <ac:picMkLst>
            <pc:docMk/>
            <pc:sldMk cId="84941987" sldId="2707"/>
            <ac:picMk id="21" creationId="{750927E8-ADAA-8E46-B5C9-CE5490242712}"/>
          </ac:picMkLst>
        </pc:picChg>
        <pc:picChg chg="mod">
          <ac:chgData name="Stina Torell" userId="42ae74f8-9b92-4847-96bc-2e51e5bf7907" providerId="ADAL" clId="{8222E77C-B75B-4648-AAD8-E34B669EE4DB}" dt="2022-04-26T15:07:51.016" v="11571" actId="1036"/>
          <ac:picMkLst>
            <pc:docMk/>
            <pc:sldMk cId="84941987" sldId="2707"/>
            <ac:picMk id="22" creationId="{BB85DB49-85C8-0C4B-9860-BCAFE1C4D741}"/>
          </ac:picMkLst>
        </pc:picChg>
        <pc:picChg chg="mod">
          <ac:chgData name="Stina Torell" userId="42ae74f8-9b92-4847-96bc-2e51e5bf7907" providerId="ADAL" clId="{8222E77C-B75B-4648-AAD8-E34B669EE4DB}" dt="2022-04-26T15:07:51.016" v="11571" actId="1036"/>
          <ac:picMkLst>
            <pc:docMk/>
            <pc:sldMk cId="84941987" sldId="2707"/>
            <ac:picMk id="23" creationId="{1CC8C004-9D8A-5144-A5F8-7FAF193492C4}"/>
          </ac:picMkLst>
        </pc:picChg>
        <pc:picChg chg="mod">
          <ac:chgData name="Stina Torell" userId="42ae74f8-9b92-4847-96bc-2e51e5bf7907" providerId="ADAL" clId="{8222E77C-B75B-4648-AAD8-E34B669EE4DB}" dt="2022-04-26T15:07:51.016" v="11571" actId="1036"/>
          <ac:picMkLst>
            <pc:docMk/>
            <pc:sldMk cId="84941987" sldId="2707"/>
            <ac:picMk id="24" creationId="{B3244B08-A506-D148-B64A-48FD09F67FFF}"/>
          </ac:picMkLst>
        </pc:picChg>
        <pc:picChg chg="mod">
          <ac:chgData name="Stina Torell" userId="42ae74f8-9b92-4847-96bc-2e51e5bf7907" providerId="ADAL" clId="{8222E77C-B75B-4648-AAD8-E34B669EE4DB}" dt="2022-04-26T15:07:51.016" v="11571" actId="1036"/>
          <ac:picMkLst>
            <pc:docMk/>
            <pc:sldMk cId="84941987" sldId="2707"/>
            <ac:picMk id="25" creationId="{8778531E-4EA1-D845-89DF-4622E69E3EB4}"/>
          </ac:picMkLst>
        </pc:picChg>
        <pc:picChg chg="mod">
          <ac:chgData name="Stina Torell" userId="42ae74f8-9b92-4847-96bc-2e51e5bf7907" providerId="ADAL" clId="{8222E77C-B75B-4648-AAD8-E34B669EE4DB}" dt="2022-04-26T15:07:51.016" v="11571" actId="1036"/>
          <ac:picMkLst>
            <pc:docMk/>
            <pc:sldMk cId="84941987" sldId="2707"/>
            <ac:picMk id="26" creationId="{6B0EF2C4-CD20-C846-A759-34F2F3614AA7}"/>
          </ac:picMkLst>
        </pc:picChg>
        <pc:picChg chg="mod">
          <ac:chgData name="Stina Torell" userId="42ae74f8-9b92-4847-96bc-2e51e5bf7907" providerId="ADAL" clId="{8222E77C-B75B-4648-AAD8-E34B669EE4DB}" dt="2022-04-26T15:07:51.016" v="11571" actId="1036"/>
          <ac:picMkLst>
            <pc:docMk/>
            <pc:sldMk cId="84941987" sldId="2707"/>
            <ac:picMk id="27" creationId="{D92A2765-248D-854F-8FC0-F5332E46F4AF}"/>
          </ac:picMkLst>
        </pc:picChg>
        <pc:picChg chg="mod">
          <ac:chgData name="Stina Torell" userId="42ae74f8-9b92-4847-96bc-2e51e5bf7907" providerId="ADAL" clId="{8222E77C-B75B-4648-AAD8-E34B669EE4DB}" dt="2022-04-26T15:07:51.016" v="11571" actId="1036"/>
          <ac:picMkLst>
            <pc:docMk/>
            <pc:sldMk cId="84941987" sldId="2707"/>
            <ac:picMk id="28" creationId="{9B641675-90B6-E64B-ADB4-68ACDA9B3428}"/>
          </ac:picMkLst>
        </pc:picChg>
        <pc:picChg chg="mod">
          <ac:chgData name="Stina Torell" userId="42ae74f8-9b92-4847-96bc-2e51e5bf7907" providerId="ADAL" clId="{8222E77C-B75B-4648-AAD8-E34B669EE4DB}" dt="2022-04-26T15:07:51.016" v="11571" actId="1036"/>
          <ac:picMkLst>
            <pc:docMk/>
            <pc:sldMk cId="84941987" sldId="2707"/>
            <ac:picMk id="29" creationId="{A90C116B-7855-004D-855C-7A599A4347FD}"/>
          </ac:picMkLst>
        </pc:picChg>
        <pc:picChg chg="mod">
          <ac:chgData name="Stina Torell" userId="42ae74f8-9b92-4847-96bc-2e51e5bf7907" providerId="ADAL" clId="{8222E77C-B75B-4648-AAD8-E34B669EE4DB}" dt="2022-04-26T15:07:51.016" v="11571" actId="1036"/>
          <ac:picMkLst>
            <pc:docMk/>
            <pc:sldMk cId="84941987" sldId="2707"/>
            <ac:picMk id="30" creationId="{FAFB4F2C-F770-534D-B267-2EA2D9F7560B}"/>
          </ac:picMkLst>
        </pc:picChg>
        <pc:picChg chg="mod">
          <ac:chgData name="Stina Torell" userId="42ae74f8-9b92-4847-96bc-2e51e5bf7907" providerId="ADAL" clId="{8222E77C-B75B-4648-AAD8-E34B669EE4DB}" dt="2022-04-26T15:07:51.016" v="11571" actId="1036"/>
          <ac:picMkLst>
            <pc:docMk/>
            <pc:sldMk cId="84941987" sldId="2707"/>
            <ac:picMk id="31" creationId="{2ED15B16-F4E6-0B47-8605-ACE0A8AE881E}"/>
          </ac:picMkLst>
        </pc:picChg>
        <pc:picChg chg="mod">
          <ac:chgData name="Stina Torell" userId="42ae74f8-9b92-4847-96bc-2e51e5bf7907" providerId="ADAL" clId="{8222E77C-B75B-4648-AAD8-E34B669EE4DB}" dt="2022-04-26T15:07:51.016" v="11571" actId="1036"/>
          <ac:picMkLst>
            <pc:docMk/>
            <pc:sldMk cId="84941987" sldId="2707"/>
            <ac:picMk id="32" creationId="{94A2715B-38F2-554B-A349-B5765EC2A780}"/>
          </ac:picMkLst>
        </pc:picChg>
        <pc:picChg chg="mod">
          <ac:chgData name="Stina Torell" userId="42ae74f8-9b92-4847-96bc-2e51e5bf7907" providerId="ADAL" clId="{8222E77C-B75B-4648-AAD8-E34B669EE4DB}" dt="2022-04-26T15:07:51.016" v="11571" actId="1036"/>
          <ac:picMkLst>
            <pc:docMk/>
            <pc:sldMk cId="84941987" sldId="2707"/>
            <ac:picMk id="34" creationId="{1C6BC73F-EAC0-7C4B-9815-0E652C1F1B03}"/>
          </ac:picMkLst>
        </pc:picChg>
        <pc:picChg chg="mod">
          <ac:chgData name="Stina Torell" userId="42ae74f8-9b92-4847-96bc-2e51e5bf7907" providerId="ADAL" clId="{8222E77C-B75B-4648-AAD8-E34B669EE4DB}" dt="2022-04-26T15:07:51.016" v="11571" actId="1036"/>
          <ac:picMkLst>
            <pc:docMk/>
            <pc:sldMk cId="84941987" sldId="2707"/>
            <ac:picMk id="35" creationId="{886490CC-C2C5-AC4A-BEB3-FBE52097EBB2}"/>
          </ac:picMkLst>
        </pc:picChg>
        <pc:picChg chg="mod">
          <ac:chgData name="Stina Torell" userId="42ae74f8-9b92-4847-96bc-2e51e5bf7907" providerId="ADAL" clId="{8222E77C-B75B-4648-AAD8-E34B669EE4DB}" dt="2022-04-26T15:07:51.016" v="11571" actId="1036"/>
          <ac:picMkLst>
            <pc:docMk/>
            <pc:sldMk cId="84941987" sldId="2707"/>
            <ac:picMk id="36" creationId="{2C9ED7AD-80A1-7F49-B66F-C168C2067B1A}"/>
          </ac:picMkLst>
        </pc:picChg>
        <pc:picChg chg="mod">
          <ac:chgData name="Stina Torell" userId="42ae74f8-9b92-4847-96bc-2e51e5bf7907" providerId="ADAL" clId="{8222E77C-B75B-4648-AAD8-E34B669EE4DB}" dt="2022-04-26T15:07:51.016" v="11571" actId="1036"/>
          <ac:picMkLst>
            <pc:docMk/>
            <pc:sldMk cId="84941987" sldId="2707"/>
            <ac:picMk id="37" creationId="{7B62EED2-19F1-CA49-885E-85A2BF561493}"/>
          </ac:picMkLst>
        </pc:picChg>
        <pc:picChg chg="mod">
          <ac:chgData name="Stina Torell" userId="42ae74f8-9b92-4847-96bc-2e51e5bf7907" providerId="ADAL" clId="{8222E77C-B75B-4648-AAD8-E34B669EE4DB}" dt="2022-04-26T15:07:51.016" v="11571" actId="1036"/>
          <ac:picMkLst>
            <pc:docMk/>
            <pc:sldMk cId="84941987" sldId="2707"/>
            <ac:picMk id="38" creationId="{DCD09EF8-8D88-B94A-B5E9-002EF39E21F4}"/>
          </ac:picMkLst>
        </pc:picChg>
        <pc:picChg chg="mod">
          <ac:chgData name="Stina Torell" userId="42ae74f8-9b92-4847-96bc-2e51e5bf7907" providerId="ADAL" clId="{8222E77C-B75B-4648-AAD8-E34B669EE4DB}" dt="2022-04-26T15:07:51.016" v="11571" actId="1036"/>
          <ac:picMkLst>
            <pc:docMk/>
            <pc:sldMk cId="84941987" sldId="2707"/>
            <ac:picMk id="40" creationId="{36E1E9DA-8098-704E-AEA1-90A63F86D664}"/>
          </ac:picMkLst>
        </pc:picChg>
        <pc:picChg chg="mod">
          <ac:chgData name="Stina Torell" userId="42ae74f8-9b92-4847-96bc-2e51e5bf7907" providerId="ADAL" clId="{8222E77C-B75B-4648-AAD8-E34B669EE4DB}" dt="2022-04-26T15:07:51.016" v="11571" actId="1036"/>
          <ac:picMkLst>
            <pc:docMk/>
            <pc:sldMk cId="84941987" sldId="2707"/>
            <ac:picMk id="41" creationId="{4919FEF4-1752-CF4E-AECD-CCD8228B0BB3}"/>
          </ac:picMkLst>
        </pc:picChg>
        <pc:picChg chg="mod">
          <ac:chgData name="Stina Torell" userId="42ae74f8-9b92-4847-96bc-2e51e5bf7907" providerId="ADAL" clId="{8222E77C-B75B-4648-AAD8-E34B669EE4DB}" dt="2022-04-26T15:07:51.016" v="11571" actId="1036"/>
          <ac:picMkLst>
            <pc:docMk/>
            <pc:sldMk cId="84941987" sldId="2707"/>
            <ac:picMk id="42" creationId="{2DD57A05-EBC7-8045-908E-234466AE78B6}"/>
          </ac:picMkLst>
        </pc:picChg>
        <pc:picChg chg="mod">
          <ac:chgData name="Stina Torell" userId="42ae74f8-9b92-4847-96bc-2e51e5bf7907" providerId="ADAL" clId="{8222E77C-B75B-4648-AAD8-E34B669EE4DB}" dt="2022-04-26T15:07:51.016" v="11571" actId="1036"/>
          <ac:picMkLst>
            <pc:docMk/>
            <pc:sldMk cId="84941987" sldId="2707"/>
            <ac:picMk id="43" creationId="{BFFE99A9-029F-B542-BD13-47AC18136568}"/>
          </ac:picMkLst>
        </pc:picChg>
        <pc:picChg chg="mod">
          <ac:chgData name="Stina Torell" userId="42ae74f8-9b92-4847-96bc-2e51e5bf7907" providerId="ADAL" clId="{8222E77C-B75B-4648-AAD8-E34B669EE4DB}" dt="2022-04-26T15:07:51.016" v="11571" actId="1036"/>
          <ac:picMkLst>
            <pc:docMk/>
            <pc:sldMk cId="84941987" sldId="2707"/>
            <ac:picMk id="44" creationId="{97D15FF5-88E9-B54A-B1AD-D910848909CF}"/>
          </ac:picMkLst>
        </pc:picChg>
        <pc:picChg chg="mod">
          <ac:chgData name="Stina Torell" userId="42ae74f8-9b92-4847-96bc-2e51e5bf7907" providerId="ADAL" clId="{8222E77C-B75B-4648-AAD8-E34B669EE4DB}" dt="2022-04-26T15:07:51.016" v="11571" actId="1036"/>
          <ac:picMkLst>
            <pc:docMk/>
            <pc:sldMk cId="84941987" sldId="2707"/>
            <ac:picMk id="45" creationId="{82585ADC-54E6-DA4C-93D8-B3FB6461CE78}"/>
          </ac:picMkLst>
        </pc:picChg>
        <pc:picChg chg="mod">
          <ac:chgData name="Stina Torell" userId="42ae74f8-9b92-4847-96bc-2e51e5bf7907" providerId="ADAL" clId="{8222E77C-B75B-4648-AAD8-E34B669EE4DB}" dt="2022-04-26T15:07:51.016" v="11571" actId="1036"/>
          <ac:picMkLst>
            <pc:docMk/>
            <pc:sldMk cId="84941987" sldId="2707"/>
            <ac:picMk id="47" creationId="{4BD34C75-802B-C644-9A29-A03E8B1547DC}"/>
          </ac:picMkLst>
        </pc:picChg>
        <pc:picChg chg="mod">
          <ac:chgData name="Stina Torell" userId="42ae74f8-9b92-4847-96bc-2e51e5bf7907" providerId="ADAL" clId="{8222E77C-B75B-4648-AAD8-E34B669EE4DB}" dt="2022-04-26T15:07:51.016" v="11571" actId="1036"/>
          <ac:picMkLst>
            <pc:docMk/>
            <pc:sldMk cId="84941987" sldId="2707"/>
            <ac:picMk id="48" creationId="{C72B7C88-A5F1-434A-B2EA-46DB266AB686}"/>
          </ac:picMkLst>
        </pc:picChg>
        <pc:picChg chg="mod">
          <ac:chgData name="Stina Torell" userId="42ae74f8-9b92-4847-96bc-2e51e5bf7907" providerId="ADAL" clId="{8222E77C-B75B-4648-AAD8-E34B669EE4DB}" dt="2022-04-26T15:07:51.016" v="11571" actId="1036"/>
          <ac:picMkLst>
            <pc:docMk/>
            <pc:sldMk cId="84941987" sldId="2707"/>
            <ac:picMk id="49" creationId="{4C8AB045-F632-6D4C-B38E-06A52F73270F}"/>
          </ac:picMkLst>
        </pc:picChg>
        <pc:picChg chg="mod">
          <ac:chgData name="Stina Torell" userId="42ae74f8-9b92-4847-96bc-2e51e5bf7907" providerId="ADAL" clId="{8222E77C-B75B-4648-AAD8-E34B669EE4DB}" dt="2022-04-26T15:07:51.016" v="11571" actId="1036"/>
          <ac:picMkLst>
            <pc:docMk/>
            <pc:sldMk cId="84941987" sldId="2707"/>
            <ac:picMk id="54" creationId="{6489B38F-12E7-1842-B26E-F273F9987680}"/>
          </ac:picMkLst>
        </pc:picChg>
        <pc:picChg chg="mod">
          <ac:chgData name="Stina Torell" userId="42ae74f8-9b92-4847-96bc-2e51e5bf7907" providerId="ADAL" clId="{8222E77C-B75B-4648-AAD8-E34B669EE4DB}" dt="2022-04-26T15:07:51.016" v="11571" actId="1036"/>
          <ac:picMkLst>
            <pc:docMk/>
            <pc:sldMk cId="84941987" sldId="2707"/>
            <ac:picMk id="10242" creationId="{FC2FCB1F-7524-BE4C-8508-D120D9F3F55C}"/>
          </ac:picMkLst>
        </pc:picChg>
        <pc:picChg chg="mod">
          <ac:chgData name="Stina Torell" userId="42ae74f8-9b92-4847-96bc-2e51e5bf7907" providerId="ADAL" clId="{8222E77C-B75B-4648-AAD8-E34B669EE4DB}" dt="2022-04-26T15:07:51.016" v="11571" actId="1036"/>
          <ac:picMkLst>
            <pc:docMk/>
            <pc:sldMk cId="84941987" sldId="2707"/>
            <ac:picMk id="10244" creationId="{17E16435-DED2-0849-81B8-D3538601AC4D}"/>
          </ac:picMkLst>
        </pc:picChg>
        <pc:picChg chg="mod">
          <ac:chgData name="Stina Torell" userId="42ae74f8-9b92-4847-96bc-2e51e5bf7907" providerId="ADAL" clId="{8222E77C-B75B-4648-AAD8-E34B669EE4DB}" dt="2022-04-26T15:07:51.016" v="11571" actId="1036"/>
          <ac:picMkLst>
            <pc:docMk/>
            <pc:sldMk cId="84941987" sldId="2707"/>
            <ac:picMk id="10250" creationId="{B1F6D304-B112-624D-9D1C-54D92EBCB465}"/>
          </ac:picMkLst>
        </pc:picChg>
        <pc:cxnChg chg="mod">
          <ac:chgData name="Stina Torell" userId="42ae74f8-9b92-4847-96bc-2e51e5bf7907" providerId="ADAL" clId="{8222E77C-B75B-4648-AAD8-E34B669EE4DB}" dt="2022-04-26T15:07:51.016" v="11571" actId="1036"/>
          <ac:cxnSpMkLst>
            <pc:docMk/>
            <pc:sldMk cId="84941987" sldId="2707"/>
            <ac:cxnSpMk id="61" creationId="{AB905137-351B-CF4C-A927-785953744242}"/>
          </ac:cxnSpMkLst>
        </pc:cxnChg>
        <pc:cxnChg chg="mod">
          <ac:chgData name="Stina Torell" userId="42ae74f8-9b92-4847-96bc-2e51e5bf7907" providerId="ADAL" clId="{8222E77C-B75B-4648-AAD8-E34B669EE4DB}" dt="2022-04-26T15:07:51.016" v="11571" actId="1036"/>
          <ac:cxnSpMkLst>
            <pc:docMk/>
            <pc:sldMk cId="84941987" sldId="2707"/>
            <ac:cxnSpMk id="62" creationId="{D99ACF8E-E9B6-264D-8BB3-BB0CAC70F184}"/>
          </ac:cxnSpMkLst>
        </pc:cxnChg>
        <pc:cxnChg chg="mod">
          <ac:chgData name="Stina Torell" userId="42ae74f8-9b92-4847-96bc-2e51e5bf7907" providerId="ADAL" clId="{8222E77C-B75B-4648-AAD8-E34B669EE4DB}" dt="2022-04-26T15:07:51.016" v="11571" actId="1036"/>
          <ac:cxnSpMkLst>
            <pc:docMk/>
            <pc:sldMk cId="84941987" sldId="2707"/>
            <ac:cxnSpMk id="93" creationId="{FA8DDE45-8B11-0A42-968D-EC00F033F593}"/>
          </ac:cxnSpMkLst>
        </pc:cxnChg>
        <pc:cxnChg chg="mod">
          <ac:chgData name="Stina Torell" userId="42ae74f8-9b92-4847-96bc-2e51e5bf7907" providerId="ADAL" clId="{8222E77C-B75B-4648-AAD8-E34B669EE4DB}" dt="2022-04-26T15:07:51.016" v="11571" actId="1036"/>
          <ac:cxnSpMkLst>
            <pc:docMk/>
            <pc:sldMk cId="84941987" sldId="2707"/>
            <ac:cxnSpMk id="10263" creationId="{C6F43877-ADA4-2F40-94DC-833B6794AFCB}"/>
          </ac:cxnSpMkLst>
        </pc:cxnChg>
      </pc:sldChg>
      <pc:sldMasterChg chg="setBg modSldLayout">
        <pc:chgData name="Stina Torell" userId="42ae74f8-9b92-4847-96bc-2e51e5bf7907" providerId="ADAL" clId="{8222E77C-B75B-4648-AAD8-E34B669EE4DB}" dt="2022-04-20T08:54:32.545" v="10039"/>
        <pc:sldMasterMkLst>
          <pc:docMk/>
          <pc:sldMasterMk cId="1876949611" sldId="2147483717"/>
        </pc:sldMasterMkLst>
        <pc:sldLayoutChg chg="addSp delSp modSp mod">
          <pc:chgData name="Stina Torell" userId="42ae74f8-9b92-4847-96bc-2e51e5bf7907" providerId="ADAL" clId="{8222E77C-B75B-4648-AAD8-E34B669EE4DB}" dt="2022-04-14T10:18:33.732" v="9187" actId="1035"/>
          <pc:sldLayoutMkLst>
            <pc:docMk/>
            <pc:sldMasterMk cId="1876949611" sldId="2147483717"/>
            <pc:sldLayoutMk cId="1752557308" sldId="2147483720"/>
          </pc:sldLayoutMkLst>
          <pc:spChg chg="mod">
            <ac:chgData name="Stina Torell" userId="42ae74f8-9b92-4847-96bc-2e51e5bf7907" providerId="ADAL" clId="{8222E77C-B75B-4648-AAD8-E34B669EE4DB}" dt="2022-04-14T10:18:33.732" v="9187" actId="1035"/>
            <ac:spMkLst>
              <pc:docMk/>
              <pc:sldMasterMk cId="1876949611" sldId="2147483717"/>
              <pc:sldLayoutMk cId="1752557308" sldId="2147483720"/>
              <ac:spMk id="6" creationId="{324526AF-332C-3448-A1A5-661DAC4B3D2D}"/>
            </ac:spMkLst>
          </pc:spChg>
          <pc:picChg chg="del">
            <ac:chgData name="Stina Torell" userId="42ae74f8-9b92-4847-96bc-2e51e5bf7907" providerId="ADAL" clId="{8222E77C-B75B-4648-AAD8-E34B669EE4DB}" dt="2022-04-14T10:18:26.385" v="9182" actId="478"/>
            <ac:picMkLst>
              <pc:docMk/>
              <pc:sldMasterMk cId="1876949611" sldId="2147483717"/>
              <pc:sldLayoutMk cId="1752557308" sldId="2147483720"/>
              <ac:picMk id="12" creationId="{C767BD9B-EAEB-6746-A8BD-DE390FAAAEEB}"/>
            </ac:picMkLst>
          </pc:picChg>
          <pc:picChg chg="add mod">
            <ac:chgData name="Stina Torell" userId="42ae74f8-9b92-4847-96bc-2e51e5bf7907" providerId="ADAL" clId="{8222E77C-B75B-4648-AAD8-E34B669EE4DB}" dt="2022-04-14T10:18:27.772" v="9183"/>
            <ac:picMkLst>
              <pc:docMk/>
              <pc:sldMasterMk cId="1876949611" sldId="2147483717"/>
              <pc:sldLayoutMk cId="1752557308" sldId="2147483720"/>
              <ac:picMk id="13" creationId="{2A93B22E-DAF6-4E4A-9E8D-5E3A10330D09}"/>
            </ac:picMkLst>
          </pc:picChg>
        </pc:sldLayoutChg>
        <pc:sldLayoutChg chg="addSp delSp modSp mod">
          <pc:chgData name="Stina Torell" userId="42ae74f8-9b92-4847-96bc-2e51e5bf7907" providerId="ADAL" clId="{8222E77C-B75B-4648-AAD8-E34B669EE4DB}" dt="2022-04-14T10:18:21.729" v="9181"/>
          <pc:sldLayoutMkLst>
            <pc:docMk/>
            <pc:sldMasterMk cId="1876949611" sldId="2147483717"/>
            <pc:sldLayoutMk cId="3832626174" sldId="2147483721"/>
          </pc:sldLayoutMkLst>
          <pc:picChg chg="del">
            <ac:chgData name="Stina Torell" userId="42ae74f8-9b92-4847-96bc-2e51e5bf7907" providerId="ADAL" clId="{8222E77C-B75B-4648-AAD8-E34B669EE4DB}" dt="2022-04-14T10:18:18.811" v="9180" actId="478"/>
            <ac:picMkLst>
              <pc:docMk/>
              <pc:sldMasterMk cId="1876949611" sldId="2147483717"/>
              <pc:sldLayoutMk cId="3832626174" sldId="2147483721"/>
              <ac:picMk id="10" creationId="{D7783024-A709-A045-A881-6CDF2916BB1B}"/>
            </ac:picMkLst>
          </pc:picChg>
          <pc:picChg chg="add mod">
            <ac:chgData name="Stina Torell" userId="42ae74f8-9b92-4847-96bc-2e51e5bf7907" providerId="ADAL" clId="{8222E77C-B75B-4648-AAD8-E34B669EE4DB}" dt="2022-04-14T10:18:21.729" v="9181"/>
            <ac:picMkLst>
              <pc:docMk/>
              <pc:sldMasterMk cId="1876949611" sldId="2147483717"/>
              <pc:sldLayoutMk cId="3832626174" sldId="2147483721"/>
              <ac:picMk id="13" creationId="{7D271246-6958-5D4A-B0E3-1DCE2B88229C}"/>
            </ac:picMkLst>
          </pc:picChg>
        </pc:sldLayoutChg>
        <pc:sldLayoutChg chg="addSp delSp modSp mod">
          <pc:chgData name="Stina Torell" userId="42ae74f8-9b92-4847-96bc-2e51e5bf7907" providerId="ADAL" clId="{8222E77C-B75B-4648-AAD8-E34B669EE4DB}" dt="2022-04-14T10:18:13.800" v="9179" actId="14100"/>
          <pc:sldLayoutMkLst>
            <pc:docMk/>
            <pc:sldMasterMk cId="1876949611" sldId="2147483717"/>
            <pc:sldLayoutMk cId="1826536915" sldId="2147483722"/>
          </pc:sldLayoutMkLst>
          <pc:spChg chg="mod">
            <ac:chgData name="Stina Torell" userId="42ae74f8-9b92-4847-96bc-2e51e5bf7907" providerId="ADAL" clId="{8222E77C-B75B-4648-AAD8-E34B669EE4DB}" dt="2022-04-14T10:18:13.800" v="9179" actId="14100"/>
            <ac:spMkLst>
              <pc:docMk/>
              <pc:sldMasterMk cId="1876949611" sldId="2147483717"/>
              <pc:sldLayoutMk cId="1826536915" sldId="2147483722"/>
              <ac:spMk id="7" creationId="{C4DB4342-90F7-A343-AD77-0F2DEF42D381}"/>
            </ac:spMkLst>
          </pc:spChg>
          <pc:picChg chg="mod">
            <ac:chgData name="Stina Torell" userId="42ae74f8-9b92-4847-96bc-2e51e5bf7907" providerId="ADAL" clId="{8222E77C-B75B-4648-AAD8-E34B669EE4DB}" dt="2022-04-14T10:18:10.683" v="9178" actId="14100"/>
            <ac:picMkLst>
              <pc:docMk/>
              <pc:sldMasterMk cId="1876949611" sldId="2147483717"/>
              <pc:sldLayoutMk cId="1826536915" sldId="2147483722"/>
              <ac:picMk id="8" creationId="{6B62C063-B1E0-0E49-80EF-6C98BDD60BDA}"/>
            </ac:picMkLst>
          </pc:picChg>
          <pc:picChg chg="del">
            <ac:chgData name="Stina Torell" userId="42ae74f8-9b92-4847-96bc-2e51e5bf7907" providerId="ADAL" clId="{8222E77C-B75B-4648-AAD8-E34B669EE4DB}" dt="2022-04-14T10:18:02.016" v="9176" actId="478"/>
            <ac:picMkLst>
              <pc:docMk/>
              <pc:sldMasterMk cId="1876949611" sldId="2147483717"/>
              <pc:sldLayoutMk cId="1826536915" sldId="2147483722"/>
              <ac:picMk id="10" creationId="{730A7258-507D-6C46-AA18-C0248BF0CE3F}"/>
            </ac:picMkLst>
          </pc:picChg>
          <pc:picChg chg="add mod">
            <ac:chgData name="Stina Torell" userId="42ae74f8-9b92-4847-96bc-2e51e5bf7907" providerId="ADAL" clId="{8222E77C-B75B-4648-AAD8-E34B669EE4DB}" dt="2022-04-14T10:18:03.656" v="9177"/>
            <ac:picMkLst>
              <pc:docMk/>
              <pc:sldMasterMk cId="1876949611" sldId="2147483717"/>
              <pc:sldLayoutMk cId="1826536915" sldId="2147483722"/>
              <ac:picMk id="11" creationId="{CC6609C4-2293-0247-8D04-9C31D933AF03}"/>
            </ac:picMkLst>
          </pc:picChg>
        </pc:sldLayoutChg>
        <pc:sldLayoutChg chg="addSp delSp modSp mod">
          <pc:chgData name="Stina Torell" userId="42ae74f8-9b92-4847-96bc-2e51e5bf7907" providerId="ADAL" clId="{8222E77C-B75B-4648-AAD8-E34B669EE4DB}" dt="2022-04-14T10:21:32.326" v="9230"/>
          <pc:sldLayoutMkLst>
            <pc:docMk/>
            <pc:sldMasterMk cId="1876949611" sldId="2147483717"/>
            <pc:sldLayoutMk cId="2187684021" sldId="2147483724"/>
          </pc:sldLayoutMkLst>
          <pc:spChg chg="mod">
            <ac:chgData name="Stina Torell" userId="42ae74f8-9b92-4847-96bc-2e51e5bf7907" providerId="ADAL" clId="{8222E77C-B75B-4648-AAD8-E34B669EE4DB}" dt="2022-04-14T10:19:11.177" v="9209" actId="947"/>
            <ac:spMkLst>
              <pc:docMk/>
              <pc:sldMasterMk cId="1876949611" sldId="2147483717"/>
              <pc:sldLayoutMk cId="2187684021" sldId="2147483724"/>
              <ac:spMk id="4" creationId="{0A01B3FF-423C-934B-AC3B-7C2B7306F8AA}"/>
            </ac:spMkLst>
          </pc:spChg>
          <pc:picChg chg="del">
            <ac:chgData name="Stina Torell" userId="42ae74f8-9b92-4847-96bc-2e51e5bf7907" providerId="ADAL" clId="{8222E77C-B75B-4648-AAD8-E34B669EE4DB}" dt="2022-04-14T10:17:39.326" v="9173" actId="478"/>
            <ac:picMkLst>
              <pc:docMk/>
              <pc:sldMasterMk cId="1876949611" sldId="2147483717"/>
              <pc:sldLayoutMk cId="2187684021" sldId="2147483724"/>
              <ac:picMk id="30" creationId="{57F1B6FC-F5A5-A64F-B668-01FDDD1F013D}"/>
            </ac:picMkLst>
          </pc:picChg>
          <pc:picChg chg="add mod">
            <ac:chgData name="Stina Torell" userId="42ae74f8-9b92-4847-96bc-2e51e5bf7907" providerId="ADAL" clId="{8222E77C-B75B-4648-AAD8-E34B669EE4DB}" dt="2022-04-14T10:17:41.069" v="9174"/>
            <ac:picMkLst>
              <pc:docMk/>
              <pc:sldMasterMk cId="1876949611" sldId="2147483717"/>
              <pc:sldLayoutMk cId="2187684021" sldId="2147483724"/>
              <ac:picMk id="31" creationId="{13BDCD67-583B-4747-AAE3-B2AF458E4D49}"/>
            </ac:picMkLst>
          </pc:picChg>
          <pc:cxnChg chg="del mod">
            <ac:chgData name="Stina Torell" userId="42ae74f8-9b92-4847-96bc-2e51e5bf7907" providerId="ADAL" clId="{8222E77C-B75B-4648-AAD8-E34B669EE4DB}" dt="2022-04-14T10:21:31.794" v="9229" actId="478"/>
            <ac:cxnSpMkLst>
              <pc:docMk/>
              <pc:sldMasterMk cId="1876949611" sldId="2147483717"/>
              <pc:sldLayoutMk cId="2187684021" sldId="2147483724"/>
              <ac:cxnSpMk id="10" creationId="{BCDAE31F-25E3-5E47-A6D3-A81165C260D5}"/>
            </ac:cxnSpMkLst>
          </pc:cxnChg>
          <pc:cxnChg chg="del mod">
            <ac:chgData name="Stina Torell" userId="42ae74f8-9b92-4847-96bc-2e51e5bf7907" providerId="ADAL" clId="{8222E77C-B75B-4648-AAD8-E34B669EE4DB}" dt="2022-04-14T10:18:49.175" v="9192" actId="478"/>
            <ac:cxnSpMkLst>
              <pc:docMk/>
              <pc:sldMasterMk cId="1876949611" sldId="2147483717"/>
              <pc:sldLayoutMk cId="2187684021" sldId="2147483724"/>
              <ac:cxnSpMk id="22" creationId="{F4C74CC4-D8CA-C649-AD5D-649DBE92C322}"/>
            </ac:cxnSpMkLst>
          </pc:cxnChg>
          <pc:cxnChg chg="add del mod">
            <ac:chgData name="Stina Torell" userId="42ae74f8-9b92-4847-96bc-2e51e5bf7907" providerId="ADAL" clId="{8222E77C-B75B-4648-AAD8-E34B669EE4DB}" dt="2022-04-14T10:21:28.919" v="9228" actId="478"/>
            <ac:cxnSpMkLst>
              <pc:docMk/>
              <pc:sldMasterMk cId="1876949611" sldId="2147483717"/>
              <pc:sldLayoutMk cId="2187684021" sldId="2147483724"/>
              <ac:cxnSpMk id="32" creationId="{4DA4A7D6-FD41-114C-A2F3-420126152CF7}"/>
            </ac:cxnSpMkLst>
          </pc:cxnChg>
          <pc:cxnChg chg="add mod">
            <ac:chgData name="Stina Torell" userId="42ae74f8-9b92-4847-96bc-2e51e5bf7907" providerId="ADAL" clId="{8222E77C-B75B-4648-AAD8-E34B669EE4DB}" dt="2022-04-14T10:21:32.326" v="9230"/>
            <ac:cxnSpMkLst>
              <pc:docMk/>
              <pc:sldMasterMk cId="1876949611" sldId="2147483717"/>
              <pc:sldLayoutMk cId="2187684021" sldId="2147483724"/>
              <ac:cxnSpMk id="33" creationId="{964C1A8F-DA8A-FD48-BD20-BD1B624470D3}"/>
            </ac:cxnSpMkLst>
          </pc:cxnChg>
        </pc:sldLayoutChg>
        <pc:sldLayoutChg chg="addSp delSp modSp mod">
          <pc:chgData name="Stina Torell" userId="42ae74f8-9b92-4847-96bc-2e51e5bf7907" providerId="ADAL" clId="{8222E77C-B75B-4648-AAD8-E34B669EE4DB}" dt="2022-04-14T10:22:01.310" v="9235"/>
          <pc:sldLayoutMkLst>
            <pc:docMk/>
            <pc:sldMasterMk cId="1876949611" sldId="2147483717"/>
            <pc:sldLayoutMk cId="1077074903" sldId="2147483725"/>
          </pc:sldLayoutMkLst>
          <pc:spChg chg="mod">
            <ac:chgData name="Stina Torell" userId="42ae74f8-9b92-4847-96bc-2e51e5bf7907" providerId="ADAL" clId="{8222E77C-B75B-4648-AAD8-E34B669EE4DB}" dt="2022-04-14T10:21:50.160" v="9233" actId="947"/>
            <ac:spMkLst>
              <pc:docMk/>
              <pc:sldMasterMk cId="1876949611" sldId="2147483717"/>
              <pc:sldLayoutMk cId="1077074903" sldId="2147483725"/>
              <ac:spMk id="5" creationId="{34062AF8-04D6-DC4C-BA92-00A4499986E9}"/>
            </ac:spMkLst>
          </pc:spChg>
          <pc:picChg chg="del">
            <ac:chgData name="Stina Torell" userId="42ae74f8-9b92-4847-96bc-2e51e5bf7907" providerId="ADAL" clId="{8222E77C-B75B-4648-AAD8-E34B669EE4DB}" dt="2022-04-14T10:17:55.918" v="9175" actId="478"/>
            <ac:picMkLst>
              <pc:docMk/>
              <pc:sldMasterMk cId="1876949611" sldId="2147483717"/>
              <pc:sldLayoutMk cId="1077074903" sldId="2147483725"/>
              <ac:picMk id="9" creationId="{2D92AA28-4C4E-224C-A722-3BEE7FEB4A80}"/>
            </ac:picMkLst>
          </pc:picChg>
          <pc:picChg chg="add del mod">
            <ac:chgData name="Stina Torell" userId="42ae74f8-9b92-4847-96bc-2e51e5bf7907" providerId="ADAL" clId="{8222E77C-B75B-4648-AAD8-E34B669EE4DB}" dt="2022-04-14T10:17:25.678" v="9171" actId="478"/>
            <ac:picMkLst>
              <pc:docMk/>
              <pc:sldMasterMk cId="1876949611" sldId="2147483717"/>
              <pc:sldLayoutMk cId="1077074903" sldId="2147483725"/>
              <ac:picMk id="10" creationId="{127B6049-054A-A042-B2A1-31C5943AE01F}"/>
            </ac:picMkLst>
          </pc:picChg>
          <pc:picChg chg="add mod">
            <ac:chgData name="Stina Torell" userId="42ae74f8-9b92-4847-96bc-2e51e5bf7907" providerId="ADAL" clId="{8222E77C-B75B-4648-AAD8-E34B669EE4DB}" dt="2022-04-14T10:17:27.188" v="9172"/>
            <ac:picMkLst>
              <pc:docMk/>
              <pc:sldMasterMk cId="1876949611" sldId="2147483717"/>
              <pc:sldLayoutMk cId="1077074903" sldId="2147483725"/>
              <ac:picMk id="12" creationId="{2CC9A6F1-F919-684A-B175-7ACCF7D4C928}"/>
            </ac:picMkLst>
          </pc:picChg>
          <pc:cxnChg chg="del">
            <ac:chgData name="Stina Torell" userId="42ae74f8-9b92-4847-96bc-2e51e5bf7907" providerId="ADAL" clId="{8222E77C-B75B-4648-AAD8-E34B669EE4DB}" dt="2022-04-14T10:20:08.300" v="9216" actId="478"/>
            <ac:cxnSpMkLst>
              <pc:docMk/>
              <pc:sldMasterMk cId="1876949611" sldId="2147483717"/>
              <pc:sldLayoutMk cId="1077074903" sldId="2147483725"/>
              <ac:cxnSpMk id="11" creationId="{4E02F8AB-AAD6-F240-A875-DE91B0C9183B}"/>
            </ac:cxnSpMkLst>
          </pc:cxnChg>
          <pc:cxnChg chg="add del mod">
            <ac:chgData name="Stina Torell" userId="42ae74f8-9b92-4847-96bc-2e51e5bf7907" providerId="ADAL" clId="{8222E77C-B75B-4648-AAD8-E34B669EE4DB}" dt="2022-04-14T10:21:36.785" v="9232" actId="478"/>
            <ac:cxnSpMkLst>
              <pc:docMk/>
              <pc:sldMasterMk cId="1876949611" sldId="2147483717"/>
              <pc:sldLayoutMk cId="1077074903" sldId="2147483725"/>
              <ac:cxnSpMk id="13" creationId="{633CFD57-27C4-644F-BAA9-43EF9FE4BBF7}"/>
            </ac:cxnSpMkLst>
          </pc:cxnChg>
          <pc:cxnChg chg="add mod">
            <ac:chgData name="Stina Torell" userId="42ae74f8-9b92-4847-96bc-2e51e5bf7907" providerId="ADAL" clId="{8222E77C-B75B-4648-AAD8-E34B669EE4DB}" dt="2022-04-14T10:22:01.310" v="9235"/>
            <ac:cxnSpMkLst>
              <pc:docMk/>
              <pc:sldMasterMk cId="1876949611" sldId="2147483717"/>
              <pc:sldLayoutMk cId="1077074903" sldId="2147483725"/>
              <ac:cxnSpMk id="14" creationId="{931408A5-A18D-EE4B-B262-03384D0675FC}"/>
            </ac:cxnSpMkLst>
          </pc:cxnChg>
          <pc:cxnChg chg="del mod">
            <ac:chgData name="Stina Torell" userId="42ae74f8-9b92-4847-96bc-2e51e5bf7907" providerId="ADAL" clId="{8222E77C-B75B-4648-AAD8-E34B669EE4DB}" dt="2022-04-14T10:21:59.774" v="9234" actId="478"/>
            <ac:cxnSpMkLst>
              <pc:docMk/>
              <pc:sldMasterMk cId="1876949611" sldId="2147483717"/>
              <pc:sldLayoutMk cId="1077074903" sldId="2147483725"/>
              <ac:cxnSpMk id="15" creationId="{A1A92AC3-7ACE-8B46-894B-11058EB2EFFD}"/>
            </ac:cxnSpMkLst>
          </pc:cxnChg>
        </pc:sldLayoutChg>
        <pc:sldLayoutChg chg="addSp delSp modSp mod">
          <pc:chgData name="Stina Torell" userId="42ae74f8-9b92-4847-96bc-2e51e5bf7907" providerId="ADAL" clId="{8222E77C-B75B-4648-AAD8-E34B669EE4DB}" dt="2022-04-14T10:22:19.251" v="9236" actId="947"/>
          <pc:sldLayoutMkLst>
            <pc:docMk/>
            <pc:sldMasterMk cId="1876949611" sldId="2147483717"/>
            <pc:sldLayoutMk cId="3020608074" sldId="2147483726"/>
          </pc:sldLayoutMkLst>
          <pc:spChg chg="add del mod">
            <ac:chgData name="Stina Torell" userId="42ae74f8-9b92-4847-96bc-2e51e5bf7907" providerId="ADAL" clId="{8222E77C-B75B-4648-AAD8-E34B669EE4DB}" dt="2022-04-14T10:15:43.299" v="9156" actId="478"/>
            <ac:spMkLst>
              <pc:docMk/>
              <pc:sldMasterMk cId="1876949611" sldId="2147483717"/>
              <pc:sldLayoutMk cId="3020608074" sldId="2147483726"/>
              <ac:spMk id="12" creationId="{D6857D29-8E83-3241-BC78-729AFD85F589}"/>
            </ac:spMkLst>
          </pc:spChg>
          <pc:spChg chg="mod">
            <ac:chgData name="Stina Torell" userId="42ae74f8-9b92-4847-96bc-2e51e5bf7907" providerId="ADAL" clId="{8222E77C-B75B-4648-AAD8-E34B669EE4DB}" dt="2022-04-14T10:22:19.251" v="9236" actId="947"/>
            <ac:spMkLst>
              <pc:docMk/>
              <pc:sldMasterMk cId="1876949611" sldId="2147483717"/>
              <pc:sldLayoutMk cId="3020608074" sldId="2147483726"/>
              <ac:spMk id="30" creationId="{0CAB9127-BADE-054E-9A7F-04FDE55D03B9}"/>
            </ac:spMkLst>
          </pc:spChg>
          <pc:picChg chg="del">
            <ac:chgData name="Stina Torell" userId="42ae74f8-9b92-4847-96bc-2e51e5bf7907" providerId="ADAL" clId="{8222E77C-B75B-4648-AAD8-E34B669EE4DB}" dt="2022-04-14T10:15:40.467" v="9154" actId="478"/>
            <ac:picMkLst>
              <pc:docMk/>
              <pc:sldMasterMk cId="1876949611" sldId="2147483717"/>
              <pc:sldLayoutMk cId="3020608074" sldId="2147483726"/>
              <ac:picMk id="11" creationId="{4C262237-6D53-C343-8FE6-2B4F06C46DAF}"/>
            </ac:picMkLst>
          </pc:picChg>
          <pc:picChg chg="add del mod">
            <ac:chgData name="Stina Torell" userId="42ae74f8-9b92-4847-96bc-2e51e5bf7907" providerId="ADAL" clId="{8222E77C-B75B-4648-AAD8-E34B669EE4DB}" dt="2022-04-14T10:17:16.384" v="9169" actId="478"/>
            <ac:picMkLst>
              <pc:docMk/>
              <pc:sldMasterMk cId="1876949611" sldId="2147483717"/>
              <pc:sldLayoutMk cId="3020608074" sldId="2147483726"/>
              <ac:picMk id="14" creationId="{222E53D3-E06A-2248-9455-5EF553509397}"/>
            </ac:picMkLst>
          </pc:picChg>
          <pc:picChg chg="add mod">
            <ac:chgData name="Stina Torell" userId="42ae74f8-9b92-4847-96bc-2e51e5bf7907" providerId="ADAL" clId="{8222E77C-B75B-4648-AAD8-E34B669EE4DB}" dt="2022-04-14T10:17:19.117" v="9170"/>
            <ac:picMkLst>
              <pc:docMk/>
              <pc:sldMasterMk cId="1876949611" sldId="2147483717"/>
              <pc:sldLayoutMk cId="3020608074" sldId="2147483726"/>
              <ac:picMk id="15" creationId="{E9AA6900-7F5C-D349-8E4C-1A1F856AB2E1}"/>
            </ac:picMkLst>
          </pc:picChg>
          <pc:cxnChg chg="del">
            <ac:chgData name="Stina Torell" userId="42ae74f8-9b92-4847-96bc-2e51e5bf7907" providerId="ADAL" clId="{8222E77C-B75B-4648-AAD8-E34B669EE4DB}" dt="2022-04-14T10:20:21.762" v="9220" actId="478"/>
            <ac:cxnSpMkLst>
              <pc:docMk/>
              <pc:sldMasterMk cId="1876949611" sldId="2147483717"/>
              <pc:sldLayoutMk cId="3020608074" sldId="2147483726"/>
              <ac:cxnSpMk id="13" creationId="{FF8B4269-0BD2-E749-9567-E879F44C6232}"/>
            </ac:cxnSpMkLst>
          </pc:cxnChg>
          <pc:cxnChg chg="add mod">
            <ac:chgData name="Stina Torell" userId="42ae74f8-9b92-4847-96bc-2e51e5bf7907" providerId="ADAL" clId="{8222E77C-B75B-4648-AAD8-E34B669EE4DB}" dt="2022-04-14T10:21:00.710" v="9224"/>
            <ac:cxnSpMkLst>
              <pc:docMk/>
              <pc:sldMasterMk cId="1876949611" sldId="2147483717"/>
              <pc:sldLayoutMk cId="3020608074" sldId="2147483726"/>
              <ac:cxnSpMk id="16" creationId="{D68A3761-51CB-104C-897E-F8581E310C8B}"/>
            </ac:cxnSpMkLst>
          </pc:cxnChg>
          <pc:cxnChg chg="del mod">
            <ac:chgData name="Stina Torell" userId="42ae74f8-9b92-4847-96bc-2e51e5bf7907" providerId="ADAL" clId="{8222E77C-B75B-4648-AAD8-E34B669EE4DB}" dt="2022-04-14T10:20:59.869" v="9223" actId="478"/>
            <ac:cxnSpMkLst>
              <pc:docMk/>
              <pc:sldMasterMk cId="1876949611" sldId="2147483717"/>
              <pc:sldLayoutMk cId="3020608074" sldId="2147483726"/>
              <ac:cxnSpMk id="21" creationId="{9BAFD4AB-DFCA-BA49-ADA0-03EB7B80B11A}"/>
            </ac:cxnSpMkLst>
          </pc:cxnChg>
        </pc:sldLayoutChg>
        <pc:sldLayoutChg chg="addSp delSp modSp mod">
          <pc:chgData name="Stina Torell" userId="42ae74f8-9b92-4847-96bc-2e51e5bf7907" providerId="ADAL" clId="{8222E77C-B75B-4648-AAD8-E34B669EE4DB}" dt="2022-04-14T10:17:11.193" v="9168"/>
          <pc:sldLayoutMkLst>
            <pc:docMk/>
            <pc:sldMasterMk cId="1876949611" sldId="2147483717"/>
            <pc:sldLayoutMk cId="2479248522" sldId="2147483727"/>
          </pc:sldLayoutMkLst>
          <pc:picChg chg="del mod">
            <ac:chgData name="Stina Torell" userId="42ae74f8-9b92-4847-96bc-2e51e5bf7907" providerId="ADAL" clId="{8222E77C-B75B-4648-AAD8-E34B669EE4DB}" dt="2022-04-14T10:17:09.780" v="9167" actId="478"/>
            <ac:picMkLst>
              <pc:docMk/>
              <pc:sldMasterMk cId="1876949611" sldId="2147483717"/>
              <pc:sldLayoutMk cId="2479248522" sldId="2147483727"/>
              <ac:picMk id="10" creationId="{A2DEB286-BB29-DC4D-A364-0691862A4A7D}"/>
            </ac:picMkLst>
          </pc:picChg>
          <pc:picChg chg="add mod">
            <ac:chgData name="Stina Torell" userId="42ae74f8-9b92-4847-96bc-2e51e5bf7907" providerId="ADAL" clId="{8222E77C-B75B-4648-AAD8-E34B669EE4DB}" dt="2022-04-14T10:17:11.193" v="9168"/>
            <ac:picMkLst>
              <pc:docMk/>
              <pc:sldMasterMk cId="1876949611" sldId="2147483717"/>
              <pc:sldLayoutMk cId="2479248522" sldId="2147483727"/>
              <ac:picMk id="11" creationId="{C5B3A887-7D5C-C546-97CD-F1131606AF03}"/>
            </ac:picMkLst>
          </pc:picChg>
        </pc:sldLayoutChg>
        <pc:sldLayoutChg chg="addSp delSp modSp mod setBg">
          <pc:chgData name="Stina Torell" userId="42ae74f8-9b92-4847-96bc-2e51e5bf7907" providerId="ADAL" clId="{8222E77C-B75B-4648-AAD8-E34B669EE4DB}" dt="2022-04-20T08:54:32.545" v="10039"/>
          <pc:sldLayoutMkLst>
            <pc:docMk/>
            <pc:sldMasterMk cId="1876949611" sldId="2147483717"/>
            <pc:sldLayoutMk cId="2598056793" sldId="2147483728"/>
          </pc:sldLayoutMkLst>
          <pc:picChg chg="del">
            <ac:chgData name="Stina Torell" userId="42ae74f8-9b92-4847-96bc-2e51e5bf7907" providerId="ADAL" clId="{8222E77C-B75B-4648-AAD8-E34B669EE4DB}" dt="2022-04-14T10:16:10.542" v="9159" actId="478"/>
            <ac:picMkLst>
              <pc:docMk/>
              <pc:sldMasterMk cId="1876949611" sldId="2147483717"/>
              <pc:sldLayoutMk cId="2598056793" sldId="2147483728"/>
              <ac:picMk id="9" creationId="{7CDB2F17-945D-C64E-B2CA-85E7D6F2236F}"/>
            </ac:picMkLst>
          </pc:picChg>
          <pc:picChg chg="add del mod">
            <ac:chgData name="Stina Torell" userId="42ae74f8-9b92-4847-96bc-2e51e5bf7907" providerId="ADAL" clId="{8222E77C-B75B-4648-AAD8-E34B669EE4DB}" dt="2022-04-14T10:17:04.623" v="9165" actId="478"/>
            <ac:picMkLst>
              <pc:docMk/>
              <pc:sldMasterMk cId="1876949611" sldId="2147483717"/>
              <pc:sldLayoutMk cId="2598056793" sldId="2147483728"/>
              <ac:picMk id="10" creationId="{5071129F-C29E-D74E-9071-ED1F9CF80AC1}"/>
            </ac:picMkLst>
          </pc:picChg>
          <pc:picChg chg="add mod">
            <ac:chgData name="Stina Torell" userId="42ae74f8-9b92-4847-96bc-2e51e5bf7907" providerId="ADAL" clId="{8222E77C-B75B-4648-AAD8-E34B669EE4DB}" dt="2022-04-14T10:17:06.238" v="9166"/>
            <ac:picMkLst>
              <pc:docMk/>
              <pc:sldMasterMk cId="1876949611" sldId="2147483717"/>
              <pc:sldLayoutMk cId="2598056793" sldId="2147483728"/>
              <ac:picMk id="11" creationId="{46F63D95-8634-3942-B705-3439292E0E4A}"/>
            </ac:picMkLst>
          </pc:picChg>
        </pc:sldLayoutChg>
        <pc:sldLayoutChg chg="addSp delSp modSp mod">
          <pc:chgData name="Stina Torell" userId="42ae74f8-9b92-4847-96bc-2e51e5bf7907" providerId="ADAL" clId="{8222E77C-B75B-4648-AAD8-E34B669EE4DB}" dt="2022-04-14T10:23:47.641" v="9239" actId="947"/>
          <pc:sldLayoutMkLst>
            <pc:docMk/>
            <pc:sldMasterMk cId="1876949611" sldId="2147483717"/>
            <pc:sldLayoutMk cId="773808639" sldId="2147483729"/>
          </pc:sldLayoutMkLst>
          <pc:spChg chg="add del mod">
            <ac:chgData name="Stina Torell" userId="42ae74f8-9b92-4847-96bc-2e51e5bf7907" providerId="ADAL" clId="{8222E77C-B75B-4648-AAD8-E34B669EE4DB}" dt="2022-04-11T13:21:16.858" v="2484" actId="478"/>
            <ac:spMkLst>
              <pc:docMk/>
              <pc:sldMasterMk cId="1876949611" sldId="2147483717"/>
              <pc:sldLayoutMk cId="773808639" sldId="2147483729"/>
              <ac:spMk id="2" creationId="{026E2BAF-5BE8-E344-9216-59BD5C90369E}"/>
            </ac:spMkLst>
          </pc:spChg>
          <pc:spChg chg="mod">
            <ac:chgData name="Stina Torell" userId="42ae74f8-9b92-4847-96bc-2e51e5bf7907" providerId="ADAL" clId="{8222E77C-B75B-4648-AAD8-E34B669EE4DB}" dt="2022-04-14T10:23:47.641" v="9239" actId="947"/>
            <ac:spMkLst>
              <pc:docMk/>
              <pc:sldMasterMk cId="1876949611" sldId="2147483717"/>
              <pc:sldLayoutMk cId="773808639" sldId="2147483729"/>
              <ac:spMk id="3" creationId="{AE004980-8006-6D41-B219-0FE285B9FD30}"/>
            </ac:spMkLst>
          </pc:spChg>
          <pc:spChg chg="add del mod">
            <ac:chgData name="Stina Torell" userId="42ae74f8-9b92-4847-96bc-2e51e5bf7907" providerId="ADAL" clId="{8222E77C-B75B-4648-AAD8-E34B669EE4DB}" dt="2022-04-11T13:21:14.727" v="2483" actId="478"/>
            <ac:spMkLst>
              <pc:docMk/>
              <pc:sldMasterMk cId="1876949611" sldId="2147483717"/>
              <pc:sldLayoutMk cId="773808639" sldId="2147483729"/>
              <ac:spMk id="4" creationId="{C891B870-57E6-FF42-A2A2-22B201A3EEAB}"/>
            </ac:spMkLst>
          </pc:spChg>
          <pc:spChg chg="add mod">
            <ac:chgData name="Stina Torell" userId="42ae74f8-9b92-4847-96bc-2e51e5bf7907" providerId="ADAL" clId="{8222E77C-B75B-4648-AAD8-E34B669EE4DB}" dt="2022-04-11T13:21:42.300" v="2665" actId="120"/>
            <ac:spMkLst>
              <pc:docMk/>
              <pc:sldMasterMk cId="1876949611" sldId="2147483717"/>
              <pc:sldLayoutMk cId="773808639" sldId="2147483729"/>
              <ac:spMk id="6" creationId="{20B8598C-5CB3-0742-BA60-BB218B6FF037}"/>
            </ac:spMkLst>
          </pc:spChg>
          <pc:picChg chg="mod">
            <ac:chgData name="Stina Torell" userId="42ae74f8-9b92-4847-96bc-2e51e5bf7907" providerId="ADAL" clId="{8222E77C-B75B-4648-AAD8-E34B669EE4DB}" dt="2022-04-11T13:21:07.473" v="2481" actId="14100"/>
            <ac:picMkLst>
              <pc:docMk/>
              <pc:sldMasterMk cId="1876949611" sldId="2147483717"/>
              <pc:sldLayoutMk cId="773808639" sldId="2147483729"/>
              <ac:picMk id="5" creationId="{52C83BCE-B308-5748-BDB1-56DF25579186}"/>
            </ac:picMkLst>
          </pc:picChg>
          <pc:cxnChg chg="add mod">
            <ac:chgData name="Stina Torell" userId="42ae74f8-9b92-4847-96bc-2e51e5bf7907" providerId="ADAL" clId="{8222E77C-B75B-4648-AAD8-E34B669EE4DB}" dt="2022-04-14T10:21:10.425" v="9226"/>
            <ac:cxnSpMkLst>
              <pc:docMk/>
              <pc:sldMasterMk cId="1876949611" sldId="2147483717"/>
              <pc:sldLayoutMk cId="773808639" sldId="2147483729"/>
              <ac:cxnSpMk id="7" creationId="{B091CDDF-F8D8-F845-AF34-5E50118C9A69}"/>
            </ac:cxnSpMkLst>
          </pc:cxnChg>
          <pc:cxnChg chg="del mod">
            <ac:chgData name="Stina Torell" userId="42ae74f8-9b92-4847-96bc-2e51e5bf7907" providerId="ADAL" clId="{8222E77C-B75B-4648-AAD8-E34B669EE4DB}" dt="2022-04-14T10:21:09.970" v="9225" actId="478"/>
            <ac:cxnSpMkLst>
              <pc:docMk/>
              <pc:sldMasterMk cId="1876949611" sldId="2147483717"/>
              <pc:sldLayoutMk cId="773808639" sldId="2147483729"/>
              <ac:cxnSpMk id="8" creationId="{44131D12-E502-D74F-A6E5-34EFAF93E89D}"/>
            </ac:cxnSpMkLst>
          </pc:cxnChg>
        </pc:sldLayoutChg>
      </pc:sldMasterChg>
    </pc:docChg>
  </pc:docChgLst>
  <pc:docChgLst>
    <pc:chgData name="Stina Torell" userId="42ae74f8-9b92-4847-96bc-2e51e5bf7907" providerId="ADAL" clId="{8F5E008B-7A51-5340-88AF-78195435FAC3}"/>
    <pc:docChg chg="undo redo custSel modSld">
      <pc:chgData name="Stina Torell" userId="42ae74f8-9b92-4847-96bc-2e51e5bf7907" providerId="ADAL" clId="{8F5E008B-7A51-5340-88AF-78195435FAC3}" dt="2022-05-25T14:32:55.442" v="344" actId="20577"/>
      <pc:docMkLst>
        <pc:docMk/>
      </pc:docMkLst>
      <pc:sldChg chg="addSp delSp modSp mod addCm">
        <pc:chgData name="Stina Torell" userId="42ae74f8-9b92-4847-96bc-2e51e5bf7907" providerId="ADAL" clId="{8F5E008B-7A51-5340-88AF-78195435FAC3}" dt="2022-05-25T11:54:48.394" v="142"/>
        <pc:sldMkLst>
          <pc:docMk/>
          <pc:sldMk cId="3300982436" sldId="2690"/>
        </pc:sldMkLst>
        <pc:spChg chg="add mod">
          <ac:chgData name="Stina Torell" userId="42ae74f8-9b92-4847-96bc-2e51e5bf7907" providerId="ADAL" clId="{8F5E008B-7A51-5340-88AF-78195435FAC3}" dt="2022-05-25T11:41:50.685" v="110" actId="207"/>
          <ac:spMkLst>
            <pc:docMk/>
            <pc:sldMk cId="3300982436" sldId="2690"/>
            <ac:spMk id="3" creationId="{1F0C1002-4FF3-3717-53A9-8C2AAEFBAD4E}"/>
          </ac:spMkLst>
        </pc:spChg>
        <pc:spChg chg="add del mod">
          <ac:chgData name="Stina Torell" userId="42ae74f8-9b92-4847-96bc-2e51e5bf7907" providerId="ADAL" clId="{8F5E008B-7A51-5340-88AF-78195435FAC3}" dt="2022-05-25T11:29:10.817" v="62" actId="20577"/>
          <ac:spMkLst>
            <pc:docMk/>
            <pc:sldMk cId="3300982436" sldId="2690"/>
            <ac:spMk id="38" creationId="{13F83F06-E831-2A43-A3ED-691A4F9E477B}"/>
          </ac:spMkLst>
        </pc:spChg>
        <pc:spChg chg="mod">
          <ac:chgData name="Stina Torell" userId="42ae74f8-9b92-4847-96bc-2e51e5bf7907" providerId="ADAL" clId="{8F5E008B-7A51-5340-88AF-78195435FAC3}" dt="2022-05-25T11:30:02.971" v="83" actId="20577"/>
          <ac:spMkLst>
            <pc:docMk/>
            <pc:sldMk cId="3300982436" sldId="2690"/>
            <ac:spMk id="48" creationId="{AC52AB05-03F7-5F4E-9614-83CCBB15B634}"/>
          </ac:spMkLst>
        </pc:spChg>
        <pc:spChg chg="mod">
          <ac:chgData name="Stina Torell" userId="42ae74f8-9b92-4847-96bc-2e51e5bf7907" providerId="ADAL" clId="{8F5E008B-7A51-5340-88AF-78195435FAC3}" dt="2022-05-25T11:27:38.026" v="51" actId="20577"/>
          <ac:spMkLst>
            <pc:docMk/>
            <pc:sldMk cId="3300982436" sldId="2690"/>
            <ac:spMk id="53" creationId="{6E21B888-8107-2045-B685-E902C7E75E85}"/>
          </ac:spMkLst>
        </pc:spChg>
      </pc:sldChg>
      <pc:sldChg chg="modSp mod addCm modCm">
        <pc:chgData name="Stina Torell" userId="42ae74f8-9b92-4847-96bc-2e51e5bf7907" providerId="ADAL" clId="{8F5E008B-7A51-5340-88AF-78195435FAC3}" dt="2022-05-25T11:57:05.623" v="161" actId="20577"/>
        <pc:sldMkLst>
          <pc:docMk/>
          <pc:sldMk cId="205438254" sldId="2694"/>
        </pc:sldMkLst>
        <pc:spChg chg="mod">
          <ac:chgData name="Stina Torell" userId="42ae74f8-9b92-4847-96bc-2e51e5bf7907" providerId="ADAL" clId="{8F5E008B-7A51-5340-88AF-78195435FAC3}" dt="2022-05-25T11:57:05.623" v="161" actId="20577"/>
          <ac:spMkLst>
            <pc:docMk/>
            <pc:sldMk cId="205438254" sldId="2694"/>
            <ac:spMk id="2" creationId="{914A8A11-B278-296B-1ED1-3CB10DED3A7F}"/>
          </ac:spMkLst>
        </pc:spChg>
      </pc:sldChg>
      <pc:sldChg chg="modSp mod">
        <pc:chgData name="Stina Torell" userId="42ae74f8-9b92-4847-96bc-2e51e5bf7907" providerId="ADAL" clId="{8F5E008B-7A51-5340-88AF-78195435FAC3}" dt="2022-05-25T11:24:50.642" v="35" actId="14100"/>
        <pc:sldMkLst>
          <pc:docMk/>
          <pc:sldMk cId="2642031561" sldId="2700"/>
        </pc:sldMkLst>
        <pc:spChg chg="mod">
          <ac:chgData name="Stina Torell" userId="42ae74f8-9b92-4847-96bc-2e51e5bf7907" providerId="ADAL" clId="{8F5E008B-7A51-5340-88AF-78195435FAC3}" dt="2022-05-25T11:24:37.498" v="19" actId="20577"/>
          <ac:spMkLst>
            <pc:docMk/>
            <pc:sldMk cId="2642031561" sldId="2700"/>
            <ac:spMk id="24" creationId="{E80FB3A9-A206-0441-B38D-FF15013FBBCA}"/>
          </ac:spMkLst>
        </pc:spChg>
        <pc:spChg chg="mod">
          <ac:chgData name="Stina Torell" userId="42ae74f8-9b92-4847-96bc-2e51e5bf7907" providerId="ADAL" clId="{8F5E008B-7A51-5340-88AF-78195435FAC3}" dt="2022-05-25T11:24:50.642" v="35" actId="14100"/>
          <ac:spMkLst>
            <pc:docMk/>
            <pc:sldMk cId="2642031561" sldId="2700"/>
            <ac:spMk id="28" creationId="{C551AD2B-AEE5-2F4F-9575-A848E7C843D3}"/>
          </ac:spMkLst>
        </pc:spChg>
      </pc:sldChg>
      <pc:sldChg chg="modSp mod">
        <pc:chgData name="Stina Torell" userId="42ae74f8-9b92-4847-96bc-2e51e5bf7907" providerId="ADAL" clId="{8F5E008B-7A51-5340-88AF-78195435FAC3}" dt="2022-05-25T11:22:26.788" v="8" actId="20577"/>
        <pc:sldMkLst>
          <pc:docMk/>
          <pc:sldMk cId="2956438627" sldId="2703"/>
        </pc:sldMkLst>
        <pc:spChg chg="mod">
          <ac:chgData name="Stina Torell" userId="42ae74f8-9b92-4847-96bc-2e51e5bf7907" providerId="ADAL" clId="{8F5E008B-7A51-5340-88AF-78195435FAC3}" dt="2022-05-25T11:22:26.788" v="8" actId="20577"/>
          <ac:spMkLst>
            <pc:docMk/>
            <pc:sldMk cId="2956438627" sldId="2703"/>
            <ac:spMk id="13" creationId="{1660C22D-A6F4-2C42-A647-40CB55564A00}"/>
          </ac:spMkLst>
        </pc:spChg>
      </pc:sldChg>
      <pc:sldChg chg="addSp delSp modSp mod">
        <pc:chgData name="Stina Torell" userId="42ae74f8-9b92-4847-96bc-2e51e5bf7907" providerId="ADAL" clId="{8F5E008B-7A51-5340-88AF-78195435FAC3}" dt="2022-05-25T14:32:55.442" v="344" actId="20577"/>
        <pc:sldMkLst>
          <pc:docMk/>
          <pc:sldMk cId="84941987" sldId="2707"/>
        </pc:sldMkLst>
        <pc:spChg chg="mod">
          <ac:chgData name="Stina Torell" userId="42ae74f8-9b92-4847-96bc-2e51e5bf7907" providerId="ADAL" clId="{8F5E008B-7A51-5340-88AF-78195435FAC3}" dt="2022-05-25T11:43:59.872" v="135" actId="20577"/>
          <ac:spMkLst>
            <pc:docMk/>
            <pc:sldMk cId="84941987" sldId="2707"/>
            <ac:spMk id="2" creationId="{9A3C37B3-916E-B74E-8C9A-F03CE8A3FA12}"/>
          </ac:spMkLst>
        </pc:spChg>
        <pc:spChg chg="mod">
          <ac:chgData name="Stina Torell" userId="42ae74f8-9b92-4847-96bc-2e51e5bf7907" providerId="ADAL" clId="{8F5E008B-7A51-5340-88AF-78195435FAC3}" dt="2022-05-25T12:30:09.091" v="255" actId="20577"/>
          <ac:spMkLst>
            <pc:docMk/>
            <pc:sldMk cId="84941987" sldId="2707"/>
            <ac:spMk id="3" creationId="{3F49C0D3-3E44-7930-8236-852710144707}"/>
          </ac:spMkLst>
        </pc:spChg>
        <pc:spChg chg="mod">
          <ac:chgData name="Stina Torell" userId="42ae74f8-9b92-4847-96bc-2e51e5bf7907" providerId="ADAL" clId="{8F5E008B-7A51-5340-88AF-78195435FAC3}" dt="2022-05-25T11:43:33.902" v="131" actId="1038"/>
          <ac:spMkLst>
            <pc:docMk/>
            <pc:sldMk cId="84941987" sldId="2707"/>
            <ac:spMk id="4" creationId="{7C6A233E-1FA7-D04B-8812-C19A957C93CD}"/>
          </ac:spMkLst>
        </pc:spChg>
        <pc:spChg chg="add mod">
          <ac:chgData name="Stina Torell" userId="42ae74f8-9b92-4847-96bc-2e51e5bf7907" providerId="ADAL" clId="{8F5E008B-7A51-5340-88AF-78195435FAC3}" dt="2022-05-25T12:17:40.732" v="164" actId="1076"/>
          <ac:spMkLst>
            <pc:docMk/>
            <pc:sldMk cId="84941987" sldId="2707"/>
            <ac:spMk id="5" creationId="{ACC5DA55-C5BC-075B-6CC3-32B246768A45}"/>
          </ac:spMkLst>
        </pc:spChg>
        <pc:spChg chg="mod">
          <ac:chgData name="Stina Torell" userId="42ae74f8-9b92-4847-96bc-2e51e5bf7907" providerId="ADAL" clId="{8F5E008B-7A51-5340-88AF-78195435FAC3}" dt="2022-05-25T11:43:33.902" v="131" actId="1038"/>
          <ac:spMkLst>
            <pc:docMk/>
            <pc:sldMk cId="84941987" sldId="2707"/>
            <ac:spMk id="53" creationId="{D99A50ED-1BF4-1747-B1B6-FF8D31E81365}"/>
          </ac:spMkLst>
        </pc:spChg>
        <pc:spChg chg="mod">
          <ac:chgData name="Stina Torell" userId="42ae74f8-9b92-4847-96bc-2e51e5bf7907" providerId="ADAL" clId="{8F5E008B-7A51-5340-88AF-78195435FAC3}" dt="2022-05-25T11:43:33.902" v="131" actId="1038"/>
          <ac:spMkLst>
            <pc:docMk/>
            <pc:sldMk cId="84941987" sldId="2707"/>
            <ac:spMk id="55" creationId="{6967590D-F8C9-9844-90D3-F6162B59465A}"/>
          </ac:spMkLst>
        </pc:spChg>
        <pc:spChg chg="mod">
          <ac:chgData name="Stina Torell" userId="42ae74f8-9b92-4847-96bc-2e51e5bf7907" providerId="ADAL" clId="{8F5E008B-7A51-5340-88AF-78195435FAC3}" dt="2022-05-25T11:43:33.902" v="131" actId="1038"/>
          <ac:spMkLst>
            <pc:docMk/>
            <pc:sldMk cId="84941987" sldId="2707"/>
            <ac:spMk id="58" creationId="{FBE9B74A-7327-A545-800C-67B2E48887B9}"/>
          </ac:spMkLst>
        </pc:spChg>
        <pc:spChg chg="mod">
          <ac:chgData name="Stina Torell" userId="42ae74f8-9b92-4847-96bc-2e51e5bf7907" providerId="ADAL" clId="{8F5E008B-7A51-5340-88AF-78195435FAC3}" dt="2022-05-25T11:43:33.902" v="131" actId="1038"/>
          <ac:spMkLst>
            <pc:docMk/>
            <pc:sldMk cId="84941987" sldId="2707"/>
            <ac:spMk id="60" creationId="{546E57BF-008A-6A49-B1DC-E079C7D576F4}"/>
          </ac:spMkLst>
        </pc:spChg>
        <pc:spChg chg="mod">
          <ac:chgData name="Stina Torell" userId="42ae74f8-9b92-4847-96bc-2e51e5bf7907" providerId="ADAL" clId="{8F5E008B-7A51-5340-88AF-78195435FAC3}" dt="2022-05-25T11:44:02.799" v="137" actId="20577"/>
          <ac:spMkLst>
            <pc:docMk/>
            <pc:sldMk cId="84941987" sldId="2707"/>
            <ac:spMk id="65" creationId="{DAFE5191-8869-8304-4B6E-E254F46539FD}"/>
          </ac:spMkLst>
        </pc:spChg>
        <pc:spChg chg="mod">
          <ac:chgData name="Stina Torell" userId="42ae74f8-9b92-4847-96bc-2e51e5bf7907" providerId="ADAL" clId="{8F5E008B-7A51-5340-88AF-78195435FAC3}" dt="2022-05-25T11:43:33.902" v="131" actId="1038"/>
          <ac:spMkLst>
            <pc:docMk/>
            <pc:sldMk cId="84941987" sldId="2707"/>
            <ac:spMk id="68" creationId="{98647605-5B0C-0340-8D71-23339F985CE9}"/>
          </ac:spMkLst>
        </pc:spChg>
        <pc:spChg chg="mod">
          <ac:chgData name="Stina Torell" userId="42ae74f8-9b92-4847-96bc-2e51e5bf7907" providerId="ADAL" clId="{8F5E008B-7A51-5340-88AF-78195435FAC3}" dt="2022-05-25T11:43:33.902" v="131" actId="1038"/>
          <ac:spMkLst>
            <pc:docMk/>
            <pc:sldMk cId="84941987" sldId="2707"/>
            <ac:spMk id="69" creationId="{CAC63E15-4DD7-2949-A9BD-CB9B2414315C}"/>
          </ac:spMkLst>
        </pc:spChg>
        <pc:spChg chg="mod">
          <ac:chgData name="Stina Torell" userId="42ae74f8-9b92-4847-96bc-2e51e5bf7907" providerId="ADAL" clId="{8F5E008B-7A51-5340-88AF-78195435FAC3}" dt="2022-05-25T11:43:33.902" v="131" actId="1038"/>
          <ac:spMkLst>
            <pc:docMk/>
            <pc:sldMk cId="84941987" sldId="2707"/>
            <ac:spMk id="70" creationId="{E8E510CC-D6AA-CA45-8B34-576047CD592F}"/>
          </ac:spMkLst>
        </pc:spChg>
        <pc:spChg chg="mod">
          <ac:chgData name="Stina Torell" userId="42ae74f8-9b92-4847-96bc-2e51e5bf7907" providerId="ADAL" clId="{8F5E008B-7A51-5340-88AF-78195435FAC3}" dt="2022-05-25T11:43:33.902" v="131" actId="1038"/>
          <ac:spMkLst>
            <pc:docMk/>
            <pc:sldMk cId="84941987" sldId="2707"/>
            <ac:spMk id="71" creationId="{9DED6606-68C2-EF4C-8CE1-9E73854774D3}"/>
          </ac:spMkLst>
        </pc:spChg>
        <pc:spChg chg="mod">
          <ac:chgData name="Stina Torell" userId="42ae74f8-9b92-4847-96bc-2e51e5bf7907" providerId="ADAL" clId="{8F5E008B-7A51-5340-88AF-78195435FAC3}" dt="2022-05-25T11:43:33.902" v="131" actId="1038"/>
          <ac:spMkLst>
            <pc:docMk/>
            <pc:sldMk cId="84941987" sldId="2707"/>
            <ac:spMk id="72" creationId="{DAADC672-F136-B04C-B872-E7771CD32584}"/>
          </ac:spMkLst>
        </pc:spChg>
        <pc:spChg chg="mod">
          <ac:chgData name="Stina Torell" userId="42ae74f8-9b92-4847-96bc-2e51e5bf7907" providerId="ADAL" clId="{8F5E008B-7A51-5340-88AF-78195435FAC3}" dt="2022-05-25T11:43:33.902" v="131" actId="1038"/>
          <ac:spMkLst>
            <pc:docMk/>
            <pc:sldMk cId="84941987" sldId="2707"/>
            <ac:spMk id="73" creationId="{F82F2127-BEAD-2749-BCC2-A8AEF17106E8}"/>
          </ac:spMkLst>
        </pc:spChg>
        <pc:spChg chg="mod">
          <ac:chgData name="Stina Torell" userId="42ae74f8-9b92-4847-96bc-2e51e5bf7907" providerId="ADAL" clId="{8F5E008B-7A51-5340-88AF-78195435FAC3}" dt="2022-05-25T11:43:33.902" v="131" actId="1038"/>
          <ac:spMkLst>
            <pc:docMk/>
            <pc:sldMk cId="84941987" sldId="2707"/>
            <ac:spMk id="149" creationId="{0F100644-7DAB-D943-960D-A5A096E0E9C2}"/>
          </ac:spMkLst>
        </pc:spChg>
        <pc:spChg chg="mod">
          <ac:chgData name="Stina Torell" userId="42ae74f8-9b92-4847-96bc-2e51e5bf7907" providerId="ADAL" clId="{8F5E008B-7A51-5340-88AF-78195435FAC3}" dt="2022-05-25T11:43:33.902" v="131" actId="1038"/>
          <ac:spMkLst>
            <pc:docMk/>
            <pc:sldMk cId="84941987" sldId="2707"/>
            <ac:spMk id="150" creationId="{9678B72A-0E4E-8946-A8C6-8ED1530570C6}"/>
          </ac:spMkLst>
        </pc:spChg>
        <pc:spChg chg="mod">
          <ac:chgData name="Stina Torell" userId="42ae74f8-9b92-4847-96bc-2e51e5bf7907" providerId="ADAL" clId="{8F5E008B-7A51-5340-88AF-78195435FAC3}" dt="2022-05-25T11:43:33.902" v="131" actId="1038"/>
          <ac:spMkLst>
            <pc:docMk/>
            <pc:sldMk cId="84941987" sldId="2707"/>
            <ac:spMk id="151" creationId="{C098B728-F30A-DB43-BB49-0789BCE1969F}"/>
          </ac:spMkLst>
        </pc:spChg>
        <pc:spChg chg="mod">
          <ac:chgData name="Stina Torell" userId="42ae74f8-9b92-4847-96bc-2e51e5bf7907" providerId="ADAL" clId="{8F5E008B-7A51-5340-88AF-78195435FAC3}" dt="2022-05-25T14:32:55.442" v="344" actId="20577"/>
          <ac:spMkLst>
            <pc:docMk/>
            <pc:sldMk cId="84941987" sldId="2707"/>
            <ac:spMk id="10259" creationId="{2AC7689B-D4C2-2F41-A841-487CEBF532A8}"/>
          </ac:spMkLst>
        </pc:spChg>
        <pc:grpChg chg="mod">
          <ac:chgData name="Stina Torell" userId="42ae74f8-9b92-4847-96bc-2e51e5bf7907" providerId="ADAL" clId="{8F5E008B-7A51-5340-88AF-78195435FAC3}" dt="2022-05-25T11:43:33.902" v="131" actId="1038"/>
          <ac:grpSpMkLst>
            <pc:docMk/>
            <pc:sldMk cId="84941987" sldId="2707"/>
            <ac:grpSpMk id="10" creationId="{D732700D-A858-9D42-BFA3-DDC39289D819}"/>
          </ac:grpSpMkLst>
        </pc:grpChg>
        <pc:grpChg chg="mod">
          <ac:chgData name="Stina Torell" userId="42ae74f8-9b92-4847-96bc-2e51e5bf7907" providerId="ADAL" clId="{8F5E008B-7A51-5340-88AF-78195435FAC3}" dt="2022-05-25T11:43:33.902" v="131" actId="1038"/>
          <ac:grpSpMkLst>
            <pc:docMk/>
            <pc:sldMk cId="84941987" sldId="2707"/>
            <ac:grpSpMk id="51" creationId="{9F3873D0-96B8-154A-A9D5-FE9833F0022B}"/>
          </ac:grpSpMkLst>
        </pc:grpChg>
        <pc:graphicFrameChg chg="add mod">
          <ac:chgData name="Stina Torell" userId="42ae74f8-9b92-4847-96bc-2e51e5bf7907" providerId="ADAL" clId="{8F5E008B-7A51-5340-88AF-78195435FAC3}" dt="2022-05-25T13:10:49.895" v="340"/>
          <ac:graphicFrameMkLst>
            <pc:docMk/>
            <pc:sldMk cId="84941987" sldId="2707"/>
            <ac:graphicFrameMk id="66" creationId="{20F210C3-FEEE-FF44-89D3-3A713C3EF317}"/>
          </ac:graphicFrameMkLst>
        </pc:graphicFrameChg>
        <pc:graphicFrameChg chg="add del mod">
          <ac:chgData name="Stina Torell" userId="42ae74f8-9b92-4847-96bc-2e51e5bf7907" providerId="ADAL" clId="{8F5E008B-7A51-5340-88AF-78195435FAC3}" dt="2022-05-25T12:31:18.116" v="258" actId="478"/>
          <ac:graphicFrameMkLst>
            <pc:docMk/>
            <pc:sldMk cId="84941987" sldId="2707"/>
            <ac:graphicFrameMk id="67" creationId="{5EC13A84-3F73-E746-BEDF-AE26F88FD84D}"/>
          </ac:graphicFrameMkLst>
        </pc:graphicFrameChg>
        <pc:picChg chg="mod">
          <ac:chgData name="Stina Torell" userId="42ae74f8-9b92-4847-96bc-2e51e5bf7907" providerId="ADAL" clId="{8F5E008B-7A51-5340-88AF-78195435FAC3}" dt="2022-05-25T11:43:33.902" v="131" actId="1038"/>
          <ac:picMkLst>
            <pc:docMk/>
            <pc:sldMk cId="84941987" sldId="2707"/>
            <ac:picMk id="12" creationId="{9AEACF0E-F1B9-C64B-BB76-301512F83F51}"/>
          </ac:picMkLst>
        </pc:picChg>
        <pc:picChg chg="mod">
          <ac:chgData name="Stina Torell" userId="42ae74f8-9b92-4847-96bc-2e51e5bf7907" providerId="ADAL" clId="{8F5E008B-7A51-5340-88AF-78195435FAC3}" dt="2022-05-25T11:43:33.902" v="131" actId="1038"/>
          <ac:picMkLst>
            <pc:docMk/>
            <pc:sldMk cId="84941987" sldId="2707"/>
            <ac:picMk id="13" creationId="{6855B6E9-FAA7-E44A-A8C6-6E0D2D33DF75}"/>
          </ac:picMkLst>
        </pc:picChg>
        <pc:picChg chg="mod">
          <ac:chgData name="Stina Torell" userId="42ae74f8-9b92-4847-96bc-2e51e5bf7907" providerId="ADAL" clId="{8F5E008B-7A51-5340-88AF-78195435FAC3}" dt="2022-05-25T11:43:33.902" v="131" actId="1038"/>
          <ac:picMkLst>
            <pc:docMk/>
            <pc:sldMk cId="84941987" sldId="2707"/>
            <ac:picMk id="14" creationId="{CF6B38C6-FC2E-124C-B475-7479C909D4CA}"/>
          </ac:picMkLst>
        </pc:picChg>
        <pc:picChg chg="mod">
          <ac:chgData name="Stina Torell" userId="42ae74f8-9b92-4847-96bc-2e51e5bf7907" providerId="ADAL" clId="{8F5E008B-7A51-5340-88AF-78195435FAC3}" dt="2022-05-25T11:43:33.902" v="131" actId="1038"/>
          <ac:picMkLst>
            <pc:docMk/>
            <pc:sldMk cId="84941987" sldId="2707"/>
            <ac:picMk id="20" creationId="{2EA5A782-3E86-9E4B-A10D-52DD46893DA0}"/>
          </ac:picMkLst>
        </pc:picChg>
        <pc:picChg chg="mod">
          <ac:chgData name="Stina Torell" userId="42ae74f8-9b92-4847-96bc-2e51e5bf7907" providerId="ADAL" clId="{8F5E008B-7A51-5340-88AF-78195435FAC3}" dt="2022-05-25T11:43:33.902" v="131" actId="1038"/>
          <ac:picMkLst>
            <pc:docMk/>
            <pc:sldMk cId="84941987" sldId="2707"/>
            <ac:picMk id="21" creationId="{750927E8-ADAA-8E46-B5C9-CE5490242712}"/>
          </ac:picMkLst>
        </pc:picChg>
        <pc:picChg chg="mod">
          <ac:chgData name="Stina Torell" userId="42ae74f8-9b92-4847-96bc-2e51e5bf7907" providerId="ADAL" clId="{8F5E008B-7A51-5340-88AF-78195435FAC3}" dt="2022-05-25T11:43:33.902" v="131" actId="1038"/>
          <ac:picMkLst>
            <pc:docMk/>
            <pc:sldMk cId="84941987" sldId="2707"/>
            <ac:picMk id="22" creationId="{BB85DB49-85C8-0C4B-9860-BCAFE1C4D741}"/>
          </ac:picMkLst>
        </pc:picChg>
        <pc:picChg chg="mod">
          <ac:chgData name="Stina Torell" userId="42ae74f8-9b92-4847-96bc-2e51e5bf7907" providerId="ADAL" clId="{8F5E008B-7A51-5340-88AF-78195435FAC3}" dt="2022-05-25T11:43:33.902" v="131" actId="1038"/>
          <ac:picMkLst>
            <pc:docMk/>
            <pc:sldMk cId="84941987" sldId="2707"/>
            <ac:picMk id="23" creationId="{1CC8C004-9D8A-5144-A5F8-7FAF193492C4}"/>
          </ac:picMkLst>
        </pc:picChg>
        <pc:picChg chg="mod">
          <ac:chgData name="Stina Torell" userId="42ae74f8-9b92-4847-96bc-2e51e5bf7907" providerId="ADAL" clId="{8F5E008B-7A51-5340-88AF-78195435FAC3}" dt="2022-05-25T11:43:33.902" v="131" actId="1038"/>
          <ac:picMkLst>
            <pc:docMk/>
            <pc:sldMk cId="84941987" sldId="2707"/>
            <ac:picMk id="24" creationId="{B3244B08-A506-D148-B64A-48FD09F67FFF}"/>
          </ac:picMkLst>
        </pc:picChg>
        <pc:picChg chg="mod">
          <ac:chgData name="Stina Torell" userId="42ae74f8-9b92-4847-96bc-2e51e5bf7907" providerId="ADAL" clId="{8F5E008B-7A51-5340-88AF-78195435FAC3}" dt="2022-05-25T11:43:33.902" v="131" actId="1038"/>
          <ac:picMkLst>
            <pc:docMk/>
            <pc:sldMk cId="84941987" sldId="2707"/>
            <ac:picMk id="25" creationId="{8778531E-4EA1-D845-89DF-4622E69E3EB4}"/>
          </ac:picMkLst>
        </pc:picChg>
        <pc:picChg chg="mod">
          <ac:chgData name="Stina Torell" userId="42ae74f8-9b92-4847-96bc-2e51e5bf7907" providerId="ADAL" clId="{8F5E008B-7A51-5340-88AF-78195435FAC3}" dt="2022-05-25T11:43:33.902" v="131" actId="1038"/>
          <ac:picMkLst>
            <pc:docMk/>
            <pc:sldMk cId="84941987" sldId="2707"/>
            <ac:picMk id="26" creationId="{6B0EF2C4-CD20-C846-A759-34F2F3614AA7}"/>
          </ac:picMkLst>
        </pc:picChg>
        <pc:picChg chg="mod">
          <ac:chgData name="Stina Torell" userId="42ae74f8-9b92-4847-96bc-2e51e5bf7907" providerId="ADAL" clId="{8F5E008B-7A51-5340-88AF-78195435FAC3}" dt="2022-05-25T11:43:33.902" v="131" actId="1038"/>
          <ac:picMkLst>
            <pc:docMk/>
            <pc:sldMk cId="84941987" sldId="2707"/>
            <ac:picMk id="27" creationId="{D92A2765-248D-854F-8FC0-F5332E46F4AF}"/>
          </ac:picMkLst>
        </pc:picChg>
        <pc:picChg chg="mod">
          <ac:chgData name="Stina Torell" userId="42ae74f8-9b92-4847-96bc-2e51e5bf7907" providerId="ADAL" clId="{8F5E008B-7A51-5340-88AF-78195435FAC3}" dt="2022-05-25T11:43:33.902" v="131" actId="1038"/>
          <ac:picMkLst>
            <pc:docMk/>
            <pc:sldMk cId="84941987" sldId="2707"/>
            <ac:picMk id="28" creationId="{9B641675-90B6-E64B-ADB4-68ACDA9B3428}"/>
          </ac:picMkLst>
        </pc:picChg>
        <pc:picChg chg="mod">
          <ac:chgData name="Stina Torell" userId="42ae74f8-9b92-4847-96bc-2e51e5bf7907" providerId="ADAL" clId="{8F5E008B-7A51-5340-88AF-78195435FAC3}" dt="2022-05-25T11:43:33.902" v="131" actId="1038"/>
          <ac:picMkLst>
            <pc:docMk/>
            <pc:sldMk cId="84941987" sldId="2707"/>
            <ac:picMk id="29" creationId="{A90C116B-7855-004D-855C-7A599A4347FD}"/>
          </ac:picMkLst>
        </pc:picChg>
        <pc:picChg chg="mod">
          <ac:chgData name="Stina Torell" userId="42ae74f8-9b92-4847-96bc-2e51e5bf7907" providerId="ADAL" clId="{8F5E008B-7A51-5340-88AF-78195435FAC3}" dt="2022-05-25T11:43:33.902" v="131" actId="1038"/>
          <ac:picMkLst>
            <pc:docMk/>
            <pc:sldMk cId="84941987" sldId="2707"/>
            <ac:picMk id="30" creationId="{FAFB4F2C-F770-534D-B267-2EA2D9F7560B}"/>
          </ac:picMkLst>
        </pc:picChg>
        <pc:picChg chg="mod">
          <ac:chgData name="Stina Torell" userId="42ae74f8-9b92-4847-96bc-2e51e5bf7907" providerId="ADAL" clId="{8F5E008B-7A51-5340-88AF-78195435FAC3}" dt="2022-05-25T11:43:33.902" v="131" actId="1038"/>
          <ac:picMkLst>
            <pc:docMk/>
            <pc:sldMk cId="84941987" sldId="2707"/>
            <ac:picMk id="31" creationId="{2ED15B16-F4E6-0B47-8605-ACE0A8AE881E}"/>
          </ac:picMkLst>
        </pc:picChg>
        <pc:picChg chg="mod">
          <ac:chgData name="Stina Torell" userId="42ae74f8-9b92-4847-96bc-2e51e5bf7907" providerId="ADAL" clId="{8F5E008B-7A51-5340-88AF-78195435FAC3}" dt="2022-05-25T11:43:33.902" v="131" actId="1038"/>
          <ac:picMkLst>
            <pc:docMk/>
            <pc:sldMk cId="84941987" sldId="2707"/>
            <ac:picMk id="32" creationId="{94A2715B-38F2-554B-A349-B5765EC2A780}"/>
          </ac:picMkLst>
        </pc:picChg>
        <pc:picChg chg="mod">
          <ac:chgData name="Stina Torell" userId="42ae74f8-9b92-4847-96bc-2e51e5bf7907" providerId="ADAL" clId="{8F5E008B-7A51-5340-88AF-78195435FAC3}" dt="2022-05-25T11:43:33.902" v="131" actId="1038"/>
          <ac:picMkLst>
            <pc:docMk/>
            <pc:sldMk cId="84941987" sldId="2707"/>
            <ac:picMk id="34" creationId="{1C6BC73F-EAC0-7C4B-9815-0E652C1F1B03}"/>
          </ac:picMkLst>
        </pc:picChg>
        <pc:picChg chg="mod">
          <ac:chgData name="Stina Torell" userId="42ae74f8-9b92-4847-96bc-2e51e5bf7907" providerId="ADAL" clId="{8F5E008B-7A51-5340-88AF-78195435FAC3}" dt="2022-05-25T11:43:33.902" v="131" actId="1038"/>
          <ac:picMkLst>
            <pc:docMk/>
            <pc:sldMk cId="84941987" sldId="2707"/>
            <ac:picMk id="35" creationId="{886490CC-C2C5-AC4A-BEB3-FBE52097EBB2}"/>
          </ac:picMkLst>
        </pc:picChg>
        <pc:picChg chg="mod">
          <ac:chgData name="Stina Torell" userId="42ae74f8-9b92-4847-96bc-2e51e5bf7907" providerId="ADAL" clId="{8F5E008B-7A51-5340-88AF-78195435FAC3}" dt="2022-05-25T11:43:33.902" v="131" actId="1038"/>
          <ac:picMkLst>
            <pc:docMk/>
            <pc:sldMk cId="84941987" sldId="2707"/>
            <ac:picMk id="36" creationId="{2C9ED7AD-80A1-7F49-B66F-C168C2067B1A}"/>
          </ac:picMkLst>
        </pc:picChg>
        <pc:picChg chg="mod">
          <ac:chgData name="Stina Torell" userId="42ae74f8-9b92-4847-96bc-2e51e5bf7907" providerId="ADAL" clId="{8F5E008B-7A51-5340-88AF-78195435FAC3}" dt="2022-05-25T11:43:33.902" v="131" actId="1038"/>
          <ac:picMkLst>
            <pc:docMk/>
            <pc:sldMk cId="84941987" sldId="2707"/>
            <ac:picMk id="37" creationId="{7B62EED2-19F1-CA49-885E-85A2BF561493}"/>
          </ac:picMkLst>
        </pc:picChg>
        <pc:picChg chg="mod">
          <ac:chgData name="Stina Torell" userId="42ae74f8-9b92-4847-96bc-2e51e5bf7907" providerId="ADAL" clId="{8F5E008B-7A51-5340-88AF-78195435FAC3}" dt="2022-05-25T11:43:33.902" v="131" actId="1038"/>
          <ac:picMkLst>
            <pc:docMk/>
            <pc:sldMk cId="84941987" sldId="2707"/>
            <ac:picMk id="38" creationId="{DCD09EF8-8D88-B94A-B5E9-002EF39E21F4}"/>
          </ac:picMkLst>
        </pc:picChg>
        <pc:picChg chg="mod">
          <ac:chgData name="Stina Torell" userId="42ae74f8-9b92-4847-96bc-2e51e5bf7907" providerId="ADAL" clId="{8F5E008B-7A51-5340-88AF-78195435FAC3}" dt="2022-05-25T11:43:33.902" v="131" actId="1038"/>
          <ac:picMkLst>
            <pc:docMk/>
            <pc:sldMk cId="84941987" sldId="2707"/>
            <ac:picMk id="40" creationId="{36E1E9DA-8098-704E-AEA1-90A63F86D664}"/>
          </ac:picMkLst>
        </pc:picChg>
        <pc:picChg chg="mod">
          <ac:chgData name="Stina Torell" userId="42ae74f8-9b92-4847-96bc-2e51e5bf7907" providerId="ADAL" clId="{8F5E008B-7A51-5340-88AF-78195435FAC3}" dt="2022-05-25T11:43:33.902" v="131" actId="1038"/>
          <ac:picMkLst>
            <pc:docMk/>
            <pc:sldMk cId="84941987" sldId="2707"/>
            <ac:picMk id="41" creationId="{4919FEF4-1752-CF4E-AECD-CCD8228B0BB3}"/>
          </ac:picMkLst>
        </pc:picChg>
        <pc:picChg chg="mod">
          <ac:chgData name="Stina Torell" userId="42ae74f8-9b92-4847-96bc-2e51e5bf7907" providerId="ADAL" clId="{8F5E008B-7A51-5340-88AF-78195435FAC3}" dt="2022-05-25T11:43:33.902" v="131" actId="1038"/>
          <ac:picMkLst>
            <pc:docMk/>
            <pc:sldMk cId="84941987" sldId="2707"/>
            <ac:picMk id="42" creationId="{2DD57A05-EBC7-8045-908E-234466AE78B6}"/>
          </ac:picMkLst>
        </pc:picChg>
        <pc:picChg chg="mod">
          <ac:chgData name="Stina Torell" userId="42ae74f8-9b92-4847-96bc-2e51e5bf7907" providerId="ADAL" clId="{8F5E008B-7A51-5340-88AF-78195435FAC3}" dt="2022-05-25T11:43:33.902" v="131" actId="1038"/>
          <ac:picMkLst>
            <pc:docMk/>
            <pc:sldMk cId="84941987" sldId="2707"/>
            <ac:picMk id="43" creationId="{BFFE99A9-029F-B542-BD13-47AC18136568}"/>
          </ac:picMkLst>
        </pc:picChg>
        <pc:picChg chg="mod">
          <ac:chgData name="Stina Torell" userId="42ae74f8-9b92-4847-96bc-2e51e5bf7907" providerId="ADAL" clId="{8F5E008B-7A51-5340-88AF-78195435FAC3}" dt="2022-05-25T11:43:33.902" v="131" actId="1038"/>
          <ac:picMkLst>
            <pc:docMk/>
            <pc:sldMk cId="84941987" sldId="2707"/>
            <ac:picMk id="44" creationId="{97D15FF5-88E9-B54A-B1AD-D910848909CF}"/>
          </ac:picMkLst>
        </pc:picChg>
        <pc:picChg chg="mod">
          <ac:chgData name="Stina Torell" userId="42ae74f8-9b92-4847-96bc-2e51e5bf7907" providerId="ADAL" clId="{8F5E008B-7A51-5340-88AF-78195435FAC3}" dt="2022-05-25T11:43:33.902" v="131" actId="1038"/>
          <ac:picMkLst>
            <pc:docMk/>
            <pc:sldMk cId="84941987" sldId="2707"/>
            <ac:picMk id="45" creationId="{82585ADC-54E6-DA4C-93D8-B3FB6461CE78}"/>
          </ac:picMkLst>
        </pc:picChg>
        <pc:picChg chg="mod">
          <ac:chgData name="Stina Torell" userId="42ae74f8-9b92-4847-96bc-2e51e5bf7907" providerId="ADAL" clId="{8F5E008B-7A51-5340-88AF-78195435FAC3}" dt="2022-05-25T11:43:33.902" v="131" actId="1038"/>
          <ac:picMkLst>
            <pc:docMk/>
            <pc:sldMk cId="84941987" sldId="2707"/>
            <ac:picMk id="47" creationId="{4BD34C75-802B-C644-9A29-A03E8B1547DC}"/>
          </ac:picMkLst>
        </pc:picChg>
        <pc:picChg chg="mod">
          <ac:chgData name="Stina Torell" userId="42ae74f8-9b92-4847-96bc-2e51e5bf7907" providerId="ADAL" clId="{8F5E008B-7A51-5340-88AF-78195435FAC3}" dt="2022-05-25T11:43:33.902" v="131" actId="1038"/>
          <ac:picMkLst>
            <pc:docMk/>
            <pc:sldMk cId="84941987" sldId="2707"/>
            <ac:picMk id="48" creationId="{C72B7C88-A5F1-434A-B2EA-46DB266AB686}"/>
          </ac:picMkLst>
        </pc:picChg>
        <pc:picChg chg="mod">
          <ac:chgData name="Stina Torell" userId="42ae74f8-9b92-4847-96bc-2e51e5bf7907" providerId="ADAL" clId="{8F5E008B-7A51-5340-88AF-78195435FAC3}" dt="2022-05-25T11:43:33.902" v="131" actId="1038"/>
          <ac:picMkLst>
            <pc:docMk/>
            <pc:sldMk cId="84941987" sldId="2707"/>
            <ac:picMk id="49" creationId="{4C8AB045-F632-6D4C-B38E-06A52F73270F}"/>
          </ac:picMkLst>
        </pc:picChg>
        <pc:picChg chg="mod">
          <ac:chgData name="Stina Torell" userId="42ae74f8-9b92-4847-96bc-2e51e5bf7907" providerId="ADAL" clId="{8F5E008B-7A51-5340-88AF-78195435FAC3}" dt="2022-05-25T11:43:33.902" v="131" actId="1038"/>
          <ac:picMkLst>
            <pc:docMk/>
            <pc:sldMk cId="84941987" sldId="2707"/>
            <ac:picMk id="54" creationId="{6489B38F-12E7-1842-B26E-F273F9987680}"/>
          </ac:picMkLst>
        </pc:picChg>
        <pc:picChg chg="mod">
          <ac:chgData name="Stina Torell" userId="42ae74f8-9b92-4847-96bc-2e51e5bf7907" providerId="ADAL" clId="{8F5E008B-7A51-5340-88AF-78195435FAC3}" dt="2022-05-25T11:43:33.902" v="131" actId="1038"/>
          <ac:picMkLst>
            <pc:docMk/>
            <pc:sldMk cId="84941987" sldId="2707"/>
            <ac:picMk id="10242" creationId="{FC2FCB1F-7524-BE4C-8508-D120D9F3F55C}"/>
          </ac:picMkLst>
        </pc:picChg>
        <pc:picChg chg="mod">
          <ac:chgData name="Stina Torell" userId="42ae74f8-9b92-4847-96bc-2e51e5bf7907" providerId="ADAL" clId="{8F5E008B-7A51-5340-88AF-78195435FAC3}" dt="2022-05-25T11:43:33.902" v="131" actId="1038"/>
          <ac:picMkLst>
            <pc:docMk/>
            <pc:sldMk cId="84941987" sldId="2707"/>
            <ac:picMk id="10244" creationId="{17E16435-DED2-0849-81B8-D3538601AC4D}"/>
          </ac:picMkLst>
        </pc:picChg>
        <pc:picChg chg="mod">
          <ac:chgData name="Stina Torell" userId="42ae74f8-9b92-4847-96bc-2e51e5bf7907" providerId="ADAL" clId="{8F5E008B-7A51-5340-88AF-78195435FAC3}" dt="2022-05-25T11:43:33.902" v="131" actId="1038"/>
          <ac:picMkLst>
            <pc:docMk/>
            <pc:sldMk cId="84941987" sldId="2707"/>
            <ac:picMk id="10250" creationId="{B1F6D304-B112-624D-9D1C-54D92EBCB465}"/>
          </ac:picMkLst>
        </pc:picChg>
        <pc:picChg chg="add mod">
          <ac:chgData name="Stina Torell" userId="42ae74f8-9b92-4847-96bc-2e51e5bf7907" providerId="ADAL" clId="{8F5E008B-7A51-5340-88AF-78195435FAC3}" dt="2022-05-25T11:43:20.197" v="129" actId="1076"/>
          <ac:picMkLst>
            <pc:docMk/>
            <pc:sldMk cId="84941987" sldId="2707"/>
            <ac:picMk id="33794" creationId="{36CF6BEB-1E26-2FFC-2E90-C20EC0DFD968}"/>
          </ac:picMkLst>
        </pc:picChg>
        <pc:cxnChg chg="mod">
          <ac:chgData name="Stina Torell" userId="42ae74f8-9b92-4847-96bc-2e51e5bf7907" providerId="ADAL" clId="{8F5E008B-7A51-5340-88AF-78195435FAC3}" dt="2022-05-25T11:43:33.902" v="131" actId="1038"/>
          <ac:cxnSpMkLst>
            <pc:docMk/>
            <pc:sldMk cId="84941987" sldId="2707"/>
            <ac:cxnSpMk id="61" creationId="{AB905137-351B-CF4C-A927-785953744242}"/>
          </ac:cxnSpMkLst>
        </pc:cxnChg>
        <pc:cxnChg chg="mod">
          <ac:chgData name="Stina Torell" userId="42ae74f8-9b92-4847-96bc-2e51e5bf7907" providerId="ADAL" clId="{8F5E008B-7A51-5340-88AF-78195435FAC3}" dt="2022-05-25T11:43:33.902" v="131" actId="1038"/>
          <ac:cxnSpMkLst>
            <pc:docMk/>
            <pc:sldMk cId="84941987" sldId="2707"/>
            <ac:cxnSpMk id="62" creationId="{D99ACF8E-E9B6-264D-8BB3-BB0CAC70F184}"/>
          </ac:cxnSpMkLst>
        </pc:cxnChg>
        <pc:cxnChg chg="mod">
          <ac:chgData name="Stina Torell" userId="42ae74f8-9b92-4847-96bc-2e51e5bf7907" providerId="ADAL" clId="{8F5E008B-7A51-5340-88AF-78195435FAC3}" dt="2022-05-25T11:43:33.902" v="131" actId="1038"/>
          <ac:cxnSpMkLst>
            <pc:docMk/>
            <pc:sldMk cId="84941987" sldId="2707"/>
            <ac:cxnSpMk id="93" creationId="{FA8DDE45-8B11-0A42-968D-EC00F033F593}"/>
          </ac:cxnSpMkLst>
        </pc:cxnChg>
        <pc:cxnChg chg="mod">
          <ac:chgData name="Stina Torell" userId="42ae74f8-9b92-4847-96bc-2e51e5bf7907" providerId="ADAL" clId="{8F5E008B-7A51-5340-88AF-78195435FAC3}" dt="2022-05-25T11:43:33.902" v="131" actId="1038"/>
          <ac:cxnSpMkLst>
            <pc:docMk/>
            <pc:sldMk cId="84941987" sldId="2707"/>
            <ac:cxnSpMk id="10263" creationId="{C6F43877-ADA4-2F40-94DC-833B6794AFCB}"/>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onocl.sharepoint.com/sites/Vision-drivenhealthRISE/Delade%20dokument/General/2021-2022/1.%20Yearly%20report/1.%20Work%20files/Excl%20cellseed_%20biotech%20only_Survey%20Response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976039809356825E-2"/>
          <c:y val="5.6735573002270154E-2"/>
          <c:w val="0.56931457406855401"/>
          <c:h val="0.77830926598988381"/>
        </c:manualLayout>
      </c:layout>
      <c:doughnutChart>
        <c:varyColors val="1"/>
        <c:ser>
          <c:idx val="0"/>
          <c:order val="0"/>
          <c:dPt>
            <c:idx val="0"/>
            <c:bubble3D val="0"/>
            <c:spPr>
              <a:solidFill>
                <a:schemeClr val="tx1"/>
              </a:solidFill>
              <a:ln w="19050">
                <a:solidFill>
                  <a:schemeClr val="lt1"/>
                </a:solidFill>
              </a:ln>
              <a:effectLst/>
            </c:spPr>
            <c:extLst>
              <c:ext xmlns:c16="http://schemas.microsoft.com/office/drawing/2014/chart" uri="{C3380CC4-5D6E-409C-BE32-E72D297353CC}">
                <c16:uniqueId val="{00000001-70CC-694A-8513-7CA58E31977A}"/>
              </c:ext>
            </c:extLst>
          </c:dPt>
          <c:dPt>
            <c:idx val="1"/>
            <c:bubble3D val="0"/>
            <c:spPr>
              <a:solidFill>
                <a:schemeClr val="accent2">
                  <a:lumMod val="90000"/>
                </a:schemeClr>
              </a:solidFill>
              <a:ln w="19050">
                <a:solidFill>
                  <a:schemeClr val="lt1"/>
                </a:solidFill>
              </a:ln>
              <a:effectLst/>
            </c:spPr>
            <c:extLst>
              <c:ext xmlns:c16="http://schemas.microsoft.com/office/drawing/2014/chart" uri="{C3380CC4-5D6E-409C-BE32-E72D297353CC}">
                <c16:uniqueId val="{00000003-70CC-694A-8513-7CA58E31977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0CC-694A-8513-7CA58E31977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0CC-694A-8513-7CA58E31977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70CC-694A-8513-7CA58E31977A}"/>
              </c:ext>
            </c:extLst>
          </c:dPt>
          <c:dLbls>
            <c:dLbl>
              <c:idx val="0"/>
              <c:layout>
                <c:manualLayout>
                  <c:x val="0.13270903890483204"/>
                  <c:y val="-6.4719675473063773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fld id="{2A1626B6-0CD6-5748-ABD7-223D9E463B28}" type="PERCENTAGE">
                      <a:rPr lang="en-US" smtClean="0">
                        <a:solidFill>
                          <a:schemeClr val="tx1"/>
                        </a:solidFill>
                      </a:rPr>
                      <a:pPr>
                        <a:defRPr sz="900" b="0" i="0" u="none" strike="noStrike" kern="1200" baseline="0">
                          <a:solidFill>
                            <a:schemeClr val="tx1"/>
                          </a:solidFill>
                          <a:latin typeface="+mn-lt"/>
                          <a:ea typeface="+mn-ea"/>
                          <a:cs typeface="+mn-cs"/>
                        </a:defRPr>
                      </a:pPr>
                      <a:t>[PROCENT]</a:t>
                    </a:fld>
                    <a:r>
                      <a:rPr lang="en-US" dirty="0">
                        <a:solidFill>
                          <a:schemeClr val="tx1"/>
                        </a:solidFill>
                      </a:rPr>
                      <a:t>(1)</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sv-SE"/>
                </a:p>
              </c:txPr>
              <c:showLegendKey val="0"/>
              <c:showVal val="0"/>
              <c:showCatName val="0"/>
              <c:showSerName val="0"/>
              <c:showPercent val="1"/>
              <c:showBubbleSize val="0"/>
              <c:extLst>
                <c:ext xmlns:c15="http://schemas.microsoft.com/office/drawing/2012/chart" uri="{CE6537A1-D6FC-4f65-9D91-7224C49458BB}">
                  <c15:layout>
                    <c:manualLayout>
                      <c:w val="0.15829587090117725"/>
                      <c:h val="0.15889108267707652"/>
                    </c:manualLayout>
                  </c15:layout>
                  <c15:dlblFieldTable/>
                  <c15:showDataLabelsRange val="0"/>
                </c:ext>
                <c:ext xmlns:c16="http://schemas.microsoft.com/office/drawing/2014/chart" uri="{C3380CC4-5D6E-409C-BE32-E72D297353CC}">
                  <c16:uniqueId val="{00000001-70CC-694A-8513-7CA58E31977A}"/>
                </c:ext>
              </c:extLst>
            </c:dLbl>
            <c:dLbl>
              <c:idx val="1"/>
              <c:tx>
                <c:rich>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fld id="{7A67A387-9C96-A646-AB1F-E3C19CFA046F}" type="PERCENTAGE">
                      <a:rPr lang="en-US" smtClean="0">
                        <a:solidFill>
                          <a:schemeClr val="tx1"/>
                        </a:solidFill>
                      </a:rPr>
                      <a:pPr>
                        <a:defRPr sz="900" b="0" i="0" u="none" strike="noStrike" kern="1200" baseline="0">
                          <a:solidFill>
                            <a:schemeClr val="tx1"/>
                          </a:solidFill>
                          <a:latin typeface="+mn-lt"/>
                          <a:ea typeface="+mn-ea"/>
                          <a:cs typeface="+mn-cs"/>
                        </a:defRPr>
                      </a:pPr>
                      <a:t>[PROCENT]</a:t>
                    </a:fld>
                    <a:endParaRPr lang="en-US">
                      <a:solidFill>
                        <a:schemeClr val="tx1"/>
                      </a:solidFill>
                    </a:endParaRPr>
                  </a:p>
                  <a:p>
                    <a:pPr>
                      <a:defRPr sz="900" b="0" i="0" u="none" strike="noStrike" kern="1200" baseline="0">
                        <a:solidFill>
                          <a:schemeClr val="tx1"/>
                        </a:solidFill>
                        <a:latin typeface="+mn-lt"/>
                        <a:ea typeface="+mn-ea"/>
                        <a:cs typeface="+mn-cs"/>
                      </a:defRPr>
                    </a:pPr>
                    <a:r>
                      <a:rPr lang="en-US">
                        <a:solidFill>
                          <a:schemeClr val="tx1"/>
                        </a:solidFill>
                      </a:rPr>
                      <a:t>(3)</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sv-SE"/>
                </a:p>
              </c:txPr>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0CC-694A-8513-7CA58E31977A}"/>
                </c:ext>
              </c:extLst>
            </c:dLbl>
            <c:dLbl>
              <c:idx val="2"/>
              <c:tx>
                <c:rich>
                  <a:bodyPr/>
                  <a:lstStyle/>
                  <a:p>
                    <a:fld id="{20D9CD8A-9BD2-C747-B246-58816FB28DA6}" type="PERCENTAGE">
                      <a:rPr lang="en-US" smtClean="0"/>
                      <a:pPr/>
                      <a:t>[PROCENT]</a:t>
                    </a:fld>
                    <a:r>
                      <a:rPr lang="en-US"/>
                      <a:t> </a:t>
                    </a:r>
                  </a:p>
                  <a:p>
                    <a:r>
                      <a:rPr lang="en-US"/>
                      <a:t>(5)</a:t>
                    </a:r>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0CC-694A-8513-7CA58E31977A}"/>
                </c:ext>
              </c:extLst>
            </c:dLbl>
            <c:dLbl>
              <c:idx val="3"/>
              <c:tx>
                <c:rich>
                  <a:bodyPr/>
                  <a:lstStyle/>
                  <a:p>
                    <a:r>
                      <a:rPr lang="en-US"/>
                      <a:t>50%</a:t>
                    </a:r>
                    <a:r>
                      <a:rPr lang="en-US" baseline="0"/>
                      <a:t> </a:t>
                    </a:r>
                  </a:p>
                  <a:p>
                    <a:r>
                      <a:rPr lang="en-US" baseline="0"/>
                      <a:t>(10)</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70CC-694A-8513-7CA58E31977A}"/>
                </c:ext>
              </c:extLst>
            </c:dLbl>
            <c:dLbl>
              <c:idx val="4"/>
              <c:layout>
                <c:manualLayout>
                  <c:x val="-0.1490064343354236"/>
                  <c:y val="-6.4719675473063773E-2"/>
                </c:manualLayout>
              </c:layout>
              <c:tx>
                <c:rich>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r>
                      <a:rPr lang="en-US" dirty="0">
                        <a:solidFill>
                          <a:schemeClr val="tx1"/>
                        </a:solidFill>
                      </a:rPr>
                      <a:t>5%</a:t>
                    </a:r>
                    <a:r>
                      <a:rPr lang="en-US" baseline="0" dirty="0">
                        <a:solidFill>
                          <a:schemeClr val="tx1"/>
                        </a:solidFill>
                      </a:rPr>
                      <a:t> </a:t>
                    </a:r>
                    <a:r>
                      <a:rPr lang="en-US" dirty="0">
                        <a:solidFill>
                          <a:schemeClr val="tx1"/>
                        </a:solidFill>
                      </a:rPr>
                      <a:t>(1)</a:t>
                    </a: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sv-SE"/>
                </a:p>
              </c:txPr>
              <c:showLegendKey val="0"/>
              <c:showVal val="0"/>
              <c:showCatName val="0"/>
              <c:showSerName val="0"/>
              <c:showPercent val="1"/>
              <c:showBubbleSize val="0"/>
              <c:extLst>
                <c:ext xmlns:c15="http://schemas.microsoft.com/office/drawing/2012/chart" uri="{CE6537A1-D6FC-4f65-9D91-7224C49458BB}">
                  <c15:layout>
                    <c:manualLayout>
                      <c:w val="0.14432651768223131"/>
                      <c:h val="0.15889108267707652"/>
                    </c:manualLayout>
                  </c15:layout>
                  <c15:showDataLabelsRange val="0"/>
                </c:ext>
                <c:ext xmlns:c16="http://schemas.microsoft.com/office/drawing/2014/chart" uri="{C3380CC4-5D6E-409C-BE32-E72D297353CC}">
                  <c16:uniqueId val="{00000009-70CC-694A-8513-7CA58E31977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sv-SE"/>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Indications and focus area'!$AI$3:$AI$7</c:f>
              <c:strCache>
                <c:ptCount val="5"/>
                <c:pt idx="0">
                  <c:v>Combined ATMP </c:v>
                </c:pt>
                <c:pt idx="1">
                  <c:v>Ex vivo GTMP</c:v>
                </c:pt>
                <c:pt idx="2">
                  <c:v>In vivo GTMP</c:v>
                </c:pt>
                <c:pt idx="3">
                  <c:v>sCTMP</c:v>
                </c:pt>
                <c:pt idx="4">
                  <c:v>TEP</c:v>
                </c:pt>
              </c:strCache>
            </c:strRef>
          </c:cat>
          <c:val>
            <c:numRef>
              <c:f>'Indications and focus area'!$AJ$3:$AJ$7</c:f>
              <c:numCache>
                <c:formatCode>General</c:formatCode>
                <c:ptCount val="5"/>
                <c:pt idx="0">
                  <c:v>1</c:v>
                </c:pt>
                <c:pt idx="1">
                  <c:v>3</c:v>
                </c:pt>
                <c:pt idx="2">
                  <c:v>5</c:v>
                </c:pt>
                <c:pt idx="3">
                  <c:v>10</c:v>
                </c:pt>
                <c:pt idx="4">
                  <c:v>1</c:v>
                </c:pt>
              </c:numCache>
            </c:numRef>
          </c:val>
          <c:extLst>
            <c:ext xmlns:c16="http://schemas.microsoft.com/office/drawing/2014/chart" uri="{C3380CC4-5D6E-409C-BE32-E72D297353CC}">
              <c16:uniqueId val="{0000000A-70CC-694A-8513-7CA58E31977A}"/>
            </c:ext>
          </c:extLst>
        </c:ser>
        <c:dLbls>
          <c:showLegendKey val="0"/>
          <c:showVal val="0"/>
          <c:showCatName val="0"/>
          <c:showSerName val="0"/>
          <c:showPercent val="1"/>
          <c:showBubbleSize val="0"/>
          <c:showLeaderLines val="1"/>
        </c:dLbls>
        <c:firstSliceAng val="0"/>
        <c:holeSize val="57"/>
      </c:doughnutChart>
      <c:spPr>
        <a:noFill/>
        <a:ln>
          <a:noFill/>
        </a:ln>
        <a:effectLst/>
      </c:spPr>
    </c:plotArea>
    <c:legend>
      <c:legendPos val="r"/>
      <c:layout>
        <c:manualLayout>
          <c:xMode val="edge"/>
          <c:yMode val="edge"/>
          <c:x val="0.65905575238533121"/>
          <c:y val="0.10930929756840384"/>
          <c:w val="0.33628779654168678"/>
          <c:h val="0.7877472334960878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365BFB-AB24-4877-AC46-3E28A64FA21A}" type="datetimeFigureOut">
              <a:rPr lang="sv-SE" smtClean="0"/>
              <a:t>2022-05-31</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1B72AF-2414-4367-9461-B8472D98CEDE}" type="slidenum">
              <a:rPr lang="sv-SE" smtClean="0"/>
              <a:t>‹#›</a:t>
            </a:fld>
            <a:endParaRPr lang="sv-SE"/>
          </a:p>
        </p:txBody>
      </p:sp>
    </p:spTree>
    <p:extLst>
      <p:ext uri="{BB962C8B-B14F-4D97-AF65-F5344CB8AC3E}">
        <p14:creationId xmlns:p14="http://schemas.microsoft.com/office/powerpoint/2010/main" val="1554721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i="1" kern="1200">
                <a:solidFill>
                  <a:schemeClr val="tx1"/>
                </a:solidFill>
                <a:effectLst/>
                <a:latin typeface="+mn-lt"/>
                <a:ea typeface="+mn-ea"/>
                <a:cs typeface="+mn-cs"/>
              </a:rPr>
              <a:t>CAMP är ett centrum för utveckling en ny typ av läkemedel, så kallade ATMP.</a:t>
            </a:r>
            <a:endParaRPr lang="sv-SE" sz="1200" kern="1200">
              <a:solidFill>
                <a:schemeClr val="tx1"/>
              </a:solidFill>
              <a:effectLst/>
              <a:latin typeface="+mn-lt"/>
              <a:ea typeface="+mn-ea"/>
              <a:cs typeface="+mn-cs"/>
            </a:endParaRPr>
          </a:p>
        </p:txBody>
      </p:sp>
      <p:sp>
        <p:nvSpPr>
          <p:cNvPr id="4" name="Platshållare för bildnummer 3"/>
          <p:cNvSpPr>
            <a:spLocks noGrp="1"/>
          </p:cNvSpPr>
          <p:nvPr>
            <p:ph type="sldNum" sz="quarter" idx="5"/>
          </p:nvPr>
        </p:nvSpPr>
        <p:spPr/>
        <p:txBody>
          <a:bodyPr/>
          <a:lstStyle/>
          <a:p>
            <a:fld id="{7D1B72AF-2414-4367-9461-B8472D98CEDE}" type="slidenum">
              <a:rPr lang="sv-SE" smtClean="0"/>
              <a:t>1</a:t>
            </a:fld>
            <a:endParaRPr lang="sv-SE"/>
          </a:p>
        </p:txBody>
      </p:sp>
    </p:spTree>
    <p:extLst>
      <p:ext uri="{BB962C8B-B14F-4D97-AF65-F5344CB8AC3E}">
        <p14:creationId xmlns:p14="http://schemas.microsoft.com/office/powerpoint/2010/main" val="1296909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7D1B72AF-2414-4367-9461-B8472D98CEDE}" type="slidenum">
              <a:rPr lang="sv-SE" smtClean="0"/>
              <a:t>5</a:t>
            </a:fld>
            <a:endParaRPr lang="sv-SE"/>
          </a:p>
        </p:txBody>
      </p:sp>
    </p:spTree>
    <p:extLst>
      <p:ext uri="{BB962C8B-B14F-4D97-AF65-F5344CB8AC3E}">
        <p14:creationId xmlns:p14="http://schemas.microsoft.com/office/powerpoint/2010/main" val="36834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7D1B72AF-2414-4367-9461-B8472D98CEDE}" type="slidenum">
              <a:rPr lang="sv-SE" smtClean="0"/>
              <a:t>6</a:t>
            </a:fld>
            <a:endParaRPr lang="sv-SE"/>
          </a:p>
        </p:txBody>
      </p:sp>
    </p:spTree>
    <p:extLst>
      <p:ext uri="{BB962C8B-B14F-4D97-AF65-F5344CB8AC3E}">
        <p14:creationId xmlns:p14="http://schemas.microsoft.com/office/powerpoint/2010/main" val="1283800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err="1"/>
              <a:t>What</a:t>
            </a:r>
            <a:r>
              <a:rPr lang="sv-SE"/>
              <a:t> </a:t>
            </a:r>
            <a:r>
              <a:rPr lang="sv-SE" err="1"/>
              <a:t>are</a:t>
            </a:r>
            <a:r>
              <a:rPr lang="sv-SE"/>
              <a:t> </a:t>
            </a:r>
            <a:r>
              <a:rPr lang="sv-SE" err="1"/>
              <a:t>ATMPs</a:t>
            </a:r>
            <a:r>
              <a:rPr lang="sv-SE"/>
              <a:t> from a </a:t>
            </a:r>
            <a:r>
              <a:rPr lang="sv-SE" err="1"/>
              <a:t>technology</a:t>
            </a:r>
            <a:r>
              <a:rPr lang="sv-SE"/>
              <a:t> </a:t>
            </a:r>
            <a:r>
              <a:rPr lang="sv-SE" err="1"/>
              <a:t>perspective</a:t>
            </a:r>
            <a:endParaRPr lang="sv-SE"/>
          </a:p>
        </p:txBody>
      </p:sp>
      <p:sp>
        <p:nvSpPr>
          <p:cNvPr id="4" name="Platshållare för bildnummer 3"/>
          <p:cNvSpPr>
            <a:spLocks noGrp="1"/>
          </p:cNvSpPr>
          <p:nvPr>
            <p:ph type="sldNum" sz="quarter" idx="5"/>
          </p:nvPr>
        </p:nvSpPr>
        <p:spPr/>
        <p:txBody>
          <a:bodyPr/>
          <a:lstStyle/>
          <a:p>
            <a:fld id="{7D1B72AF-2414-4367-9461-B8472D98CEDE}" type="slidenum">
              <a:rPr lang="sv-SE" smtClean="0"/>
              <a:t>7</a:t>
            </a:fld>
            <a:endParaRPr lang="sv-SE"/>
          </a:p>
        </p:txBody>
      </p:sp>
    </p:spTree>
    <p:extLst>
      <p:ext uri="{BB962C8B-B14F-4D97-AF65-F5344CB8AC3E}">
        <p14:creationId xmlns:p14="http://schemas.microsoft.com/office/powerpoint/2010/main" val="1178095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7D1B72AF-2414-4367-9461-B8472D98CEDE}" type="slidenum">
              <a:rPr lang="sv-SE" smtClean="0"/>
              <a:t>8</a:t>
            </a:fld>
            <a:endParaRPr lang="sv-SE"/>
          </a:p>
        </p:txBody>
      </p:sp>
    </p:spTree>
    <p:extLst>
      <p:ext uri="{BB962C8B-B14F-4D97-AF65-F5344CB8AC3E}">
        <p14:creationId xmlns:p14="http://schemas.microsoft.com/office/powerpoint/2010/main" val="4231787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4DD9FA9A-D06A-9449-B0A4-14D4A7B9FDE5}" type="slidenum">
              <a:rPr lang="sv-SE" smtClean="0"/>
              <a:t>9</a:t>
            </a:fld>
            <a:endParaRPr lang="sv-SE"/>
          </a:p>
        </p:txBody>
      </p:sp>
    </p:spTree>
    <p:extLst>
      <p:ext uri="{BB962C8B-B14F-4D97-AF65-F5344CB8AC3E}">
        <p14:creationId xmlns:p14="http://schemas.microsoft.com/office/powerpoint/2010/main" val="13812503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tart page logo">
    <p:spTree>
      <p:nvGrpSpPr>
        <p:cNvPr id="1" name=""/>
        <p:cNvGrpSpPr/>
        <p:nvPr/>
      </p:nvGrpSpPr>
      <p:grpSpPr>
        <a:xfrm>
          <a:off x="0" y="0"/>
          <a:ext cx="0" cy="0"/>
          <a:chOff x="0" y="0"/>
          <a:chExt cx="0" cy="0"/>
        </a:xfrm>
      </p:grpSpPr>
      <p:pic>
        <p:nvPicPr>
          <p:cNvPr id="6" name="Bild 4">
            <a:extLst>
              <a:ext uri="{FF2B5EF4-FFF2-40B4-BE49-F238E27FC236}">
                <a16:creationId xmlns:a16="http://schemas.microsoft.com/office/drawing/2014/main" id="{EF416125-31F2-2A43-A385-2CDF766F1FC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52031" y="2247220"/>
            <a:ext cx="5295265" cy="2162855"/>
          </a:xfrm>
          <a:prstGeom prst="rect">
            <a:avLst/>
          </a:prstGeom>
        </p:spPr>
      </p:pic>
      <p:grpSp>
        <p:nvGrpSpPr>
          <p:cNvPr id="2" name="Bild 4">
            <a:extLst>
              <a:ext uri="{FF2B5EF4-FFF2-40B4-BE49-F238E27FC236}">
                <a16:creationId xmlns:a16="http://schemas.microsoft.com/office/drawing/2014/main" id="{73B01E6E-BAF5-A344-802A-D89A9843721C}"/>
              </a:ext>
            </a:extLst>
          </p:cNvPr>
          <p:cNvGrpSpPr/>
          <p:nvPr/>
        </p:nvGrpSpPr>
        <p:grpSpPr>
          <a:xfrm>
            <a:off x="3697739" y="2415259"/>
            <a:ext cx="4772333" cy="1803628"/>
            <a:chOff x="3697739" y="2415259"/>
            <a:chExt cx="4772333" cy="1803628"/>
          </a:xfrm>
        </p:grpSpPr>
        <p:grpSp>
          <p:nvGrpSpPr>
            <p:cNvPr id="4" name="Bild 4">
              <a:extLst>
                <a:ext uri="{FF2B5EF4-FFF2-40B4-BE49-F238E27FC236}">
                  <a16:creationId xmlns:a16="http://schemas.microsoft.com/office/drawing/2014/main" id="{7D5DD215-5C3B-A247-B641-4FACB33AF07A}"/>
                </a:ext>
              </a:extLst>
            </p:cNvPr>
            <p:cNvGrpSpPr/>
            <p:nvPr/>
          </p:nvGrpSpPr>
          <p:grpSpPr>
            <a:xfrm>
              <a:off x="3697739" y="2415259"/>
              <a:ext cx="1797299" cy="1803628"/>
              <a:chOff x="3697739" y="2415259"/>
              <a:chExt cx="1797299" cy="1803628"/>
            </a:xfrm>
          </p:grpSpPr>
          <p:sp>
            <p:nvSpPr>
              <p:cNvPr id="5" name="Freeform 4">
                <a:extLst>
                  <a:ext uri="{FF2B5EF4-FFF2-40B4-BE49-F238E27FC236}">
                    <a16:creationId xmlns:a16="http://schemas.microsoft.com/office/drawing/2014/main" id="{D461E255-84AE-4944-8DEC-CE771901D867}"/>
                  </a:ext>
                </a:extLst>
              </p:cNvPr>
              <p:cNvSpPr/>
              <p:nvPr/>
            </p:nvSpPr>
            <p:spPr>
              <a:xfrm>
                <a:off x="4884775" y="3229320"/>
                <a:ext cx="174892" cy="175508"/>
              </a:xfrm>
              <a:custGeom>
                <a:avLst/>
                <a:gdLst>
                  <a:gd name="connsiteX0" fmla="*/ 174893 w 174892"/>
                  <a:gd name="connsiteY0" fmla="*/ 87754 h 175508"/>
                  <a:gd name="connsiteX1" fmla="*/ 87446 w 174892"/>
                  <a:gd name="connsiteY1" fmla="*/ 175508 h 175508"/>
                  <a:gd name="connsiteX2" fmla="*/ 0 w 174892"/>
                  <a:gd name="connsiteY2" fmla="*/ 87754 h 175508"/>
                  <a:gd name="connsiteX3" fmla="*/ 87446 w 174892"/>
                  <a:gd name="connsiteY3" fmla="*/ 0 h 175508"/>
                  <a:gd name="connsiteX4" fmla="*/ 174893 w 174892"/>
                  <a:gd name="connsiteY4" fmla="*/ 87754 h 175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92" h="175508">
                    <a:moveTo>
                      <a:pt x="174893" y="87754"/>
                    </a:moveTo>
                    <a:cubicBezTo>
                      <a:pt x="174893" y="136219"/>
                      <a:pt x="135742" y="175508"/>
                      <a:pt x="87446" y="175508"/>
                    </a:cubicBezTo>
                    <a:cubicBezTo>
                      <a:pt x="39151" y="175508"/>
                      <a:pt x="0" y="136219"/>
                      <a:pt x="0" y="87754"/>
                    </a:cubicBezTo>
                    <a:cubicBezTo>
                      <a:pt x="0" y="39289"/>
                      <a:pt x="39151" y="0"/>
                      <a:pt x="87446" y="0"/>
                    </a:cubicBezTo>
                    <a:cubicBezTo>
                      <a:pt x="135742" y="0"/>
                      <a:pt x="174893" y="39289"/>
                      <a:pt x="174893" y="87754"/>
                    </a:cubicBezTo>
                    <a:close/>
                  </a:path>
                </a:pathLst>
              </a:custGeom>
              <a:solidFill>
                <a:srgbClr val="FFC556"/>
              </a:solidFill>
              <a:ln w="18582" cap="flat">
                <a:noFill/>
                <a:prstDash val="solid"/>
                <a:miter/>
              </a:ln>
            </p:spPr>
            <p:txBody>
              <a:bodyPr rtlCol="0" anchor="ctr"/>
              <a:lstStyle/>
              <a:p>
                <a:endParaRPr lang="en-SE"/>
              </a:p>
            </p:txBody>
          </p:sp>
          <p:sp>
            <p:nvSpPr>
              <p:cNvPr id="7" name="Freeform 6">
                <a:extLst>
                  <a:ext uri="{FF2B5EF4-FFF2-40B4-BE49-F238E27FC236}">
                    <a16:creationId xmlns:a16="http://schemas.microsoft.com/office/drawing/2014/main" id="{A0E9B162-B060-2144-A715-43AA57156756}"/>
                  </a:ext>
                </a:extLst>
              </p:cNvPr>
              <p:cNvSpPr/>
              <p:nvPr/>
            </p:nvSpPr>
            <p:spPr>
              <a:xfrm>
                <a:off x="5167580" y="3246124"/>
                <a:ext cx="130239" cy="141900"/>
              </a:xfrm>
              <a:custGeom>
                <a:avLst/>
                <a:gdLst>
                  <a:gd name="connsiteX0" fmla="*/ 130239 w 130239"/>
                  <a:gd name="connsiteY0" fmla="*/ 70950 h 141900"/>
                  <a:gd name="connsiteX1" fmla="*/ 65120 w 130239"/>
                  <a:gd name="connsiteY1" fmla="*/ 141900 h 141900"/>
                  <a:gd name="connsiteX2" fmla="*/ 0 w 130239"/>
                  <a:gd name="connsiteY2" fmla="*/ 70950 h 141900"/>
                  <a:gd name="connsiteX3" fmla="*/ 65120 w 130239"/>
                  <a:gd name="connsiteY3" fmla="*/ 0 h 141900"/>
                  <a:gd name="connsiteX4" fmla="*/ 130239 w 130239"/>
                  <a:gd name="connsiteY4" fmla="*/ 70950 h 141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41900">
                    <a:moveTo>
                      <a:pt x="130239" y="70950"/>
                    </a:moveTo>
                    <a:cubicBezTo>
                      <a:pt x="130239" y="110135"/>
                      <a:pt x="101084" y="141900"/>
                      <a:pt x="65120" y="141900"/>
                    </a:cubicBezTo>
                    <a:cubicBezTo>
                      <a:pt x="29155" y="141900"/>
                      <a:pt x="0" y="110135"/>
                      <a:pt x="0" y="70950"/>
                    </a:cubicBezTo>
                    <a:cubicBezTo>
                      <a:pt x="0" y="31765"/>
                      <a:pt x="29155" y="0"/>
                      <a:pt x="65120" y="0"/>
                    </a:cubicBezTo>
                    <a:cubicBezTo>
                      <a:pt x="101084" y="0"/>
                      <a:pt x="130239" y="31765"/>
                      <a:pt x="130239" y="70950"/>
                    </a:cubicBezTo>
                    <a:close/>
                  </a:path>
                </a:pathLst>
              </a:custGeom>
              <a:solidFill>
                <a:srgbClr val="FFC556"/>
              </a:solidFill>
              <a:ln w="18582" cap="flat">
                <a:noFill/>
                <a:prstDash val="solid"/>
                <a:miter/>
              </a:ln>
            </p:spPr>
            <p:txBody>
              <a:bodyPr rtlCol="0" anchor="ctr"/>
              <a:lstStyle/>
              <a:p>
                <a:endParaRPr lang="en-SE"/>
              </a:p>
            </p:txBody>
          </p:sp>
          <p:sp>
            <p:nvSpPr>
              <p:cNvPr id="8" name="Freeform 7">
                <a:extLst>
                  <a:ext uri="{FF2B5EF4-FFF2-40B4-BE49-F238E27FC236}">
                    <a16:creationId xmlns:a16="http://schemas.microsoft.com/office/drawing/2014/main" id="{2860145B-939B-3647-9056-493155B9574A}"/>
                  </a:ext>
                </a:extLst>
              </p:cNvPr>
              <p:cNvSpPr/>
              <p:nvPr/>
            </p:nvSpPr>
            <p:spPr>
              <a:xfrm>
                <a:off x="5394568" y="3266662"/>
                <a:ext cx="100470" cy="100823"/>
              </a:xfrm>
              <a:custGeom>
                <a:avLst/>
                <a:gdLst>
                  <a:gd name="connsiteX0" fmla="*/ 100470 w 100470"/>
                  <a:gd name="connsiteY0" fmla="*/ 50412 h 100823"/>
                  <a:gd name="connsiteX1" fmla="*/ 50235 w 100470"/>
                  <a:gd name="connsiteY1" fmla="*/ 100824 h 100823"/>
                  <a:gd name="connsiteX2" fmla="*/ 0 w 100470"/>
                  <a:gd name="connsiteY2" fmla="*/ 50412 h 100823"/>
                  <a:gd name="connsiteX3" fmla="*/ 50235 w 100470"/>
                  <a:gd name="connsiteY3" fmla="*/ 0 h 100823"/>
                  <a:gd name="connsiteX4" fmla="*/ 100470 w 100470"/>
                  <a:gd name="connsiteY4" fmla="*/ 50412 h 100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0" h="100823">
                    <a:moveTo>
                      <a:pt x="100470" y="50412"/>
                    </a:moveTo>
                    <a:cubicBezTo>
                      <a:pt x="100470" y="78254"/>
                      <a:pt x="77979" y="100824"/>
                      <a:pt x="50235" y="100824"/>
                    </a:cubicBezTo>
                    <a:cubicBezTo>
                      <a:pt x="22491" y="100824"/>
                      <a:pt x="0" y="78254"/>
                      <a:pt x="0" y="50412"/>
                    </a:cubicBezTo>
                    <a:cubicBezTo>
                      <a:pt x="0" y="22570"/>
                      <a:pt x="22491" y="0"/>
                      <a:pt x="50235" y="0"/>
                    </a:cubicBezTo>
                    <a:cubicBezTo>
                      <a:pt x="77979" y="0"/>
                      <a:pt x="100470" y="22570"/>
                      <a:pt x="100470" y="50412"/>
                    </a:cubicBezTo>
                    <a:close/>
                  </a:path>
                </a:pathLst>
              </a:custGeom>
              <a:solidFill>
                <a:srgbClr val="FFC556"/>
              </a:solidFill>
              <a:ln w="18582" cap="flat">
                <a:noFill/>
                <a:prstDash val="solid"/>
                <a:miter/>
              </a:ln>
            </p:spPr>
            <p:txBody>
              <a:bodyPr rtlCol="0" anchor="ctr"/>
              <a:lstStyle/>
              <a:p>
                <a:endParaRPr lang="en-SE"/>
              </a:p>
            </p:txBody>
          </p:sp>
          <p:sp>
            <p:nvSpPr>
              <p:cNvPr id="9" name="Freeform 8">
                <a:extLst>
                  <a:ext uri="{FF2B5EF4-FFF2-40B4-BE49-F238E27FC236}">
                    <a16:creationId xmlns:a16="http://schemas.microsoft.com/office/drawing/2014/main" id="{9D895765-64D4-3F42-9F4F-E9FF54DA6B02}"/>
                  </a:ext>
                </a:extLst>
              </p:cNvPr>
              <p:cNvSpPr/>
              <p:nvPr/>
            </p:nvSpPr>
            <p:spPr>
              <a:xfrm>
                <a:off x="3902400" y="3246124"/>
                <a:ext cx="141402" cy="141900"/>
              </a:xfrm>
              <a:custGeom>
                <a:avLst/>
                <a:gdLst>
                  <a:gd name="connsiteX0" fmla="*/ 141403 w 141402"/>
                  <a:gd name="connsiteY0" fmla="*/ 70950 h 141900"/>
                  <a:gd name="connsiteX1" fmla="*/ 70701 w 141402"/>
                  <a:gd name="connsiteY1" fmla="*/ 141900 h 141900"/>
                  <a:gd name="connsiteX2" fmla="*/ 0 w 141402"/>
                  <a:gd name="connsiteY2" fmla="*/ 70950 h 141900"/>
                  <a:gd name="connsiteX3" fmla="*/ 70701 w 141402"/>
                  <a:gd name="connsiteY3" fmla="*/ 0 h 141900"/>
                  <a:gd name="connsiteX4" fmla="*/ 141403 w 141402"/>
                  <a:gd name="connsiteY4" fmla="*/ 70950 h 141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402" h="141900">
                    <a:moveTo>
                      <a:pt x="141403" y="70950"/>
                    </a:moveTo>
                    <a:cubicBezTo>
                      <a:pt x="141403" y="110135"/>
                      <a:pt x="109748" y="141900"/>
                      <a:pt x="70701" y="141900"/>
                    </a:cubicBezTo>
                    <a:cubicBezTo>
                      <a:pt x="31654" y="141900"/>
                      <a:pt x="0" y="110135"/>
                      <a:pt x="0" y="70950"/>
                    </a:cubicBezTo>
                    <a:cubicBezTo>
                      <a:pt x="0" y="31765"/>
                      <a:pt x="31654" y="0"/>
                      <a:pt x="70701" y="0"/>
                    </a:cubicBezTo>
                    <a:cubicBezTo>
                      <a:pt x="109748" y="0"/>
                      <a:pt x="141403" y="31765"/>
                      <a:pt x="141403" y="70950"/>
                    </a:cubicBezTo>
                    <a:close/>
                  </a:path>
                </a:pathLst>
              </a:custGeom>
              <a:solidFill>
                <a:srgbClr val="FFC556"/>
              </a:solidFill>
              <a:ln w="18582" cap="flat">
                <a:noFill/>
                <a:prstDash val="solid"/>
                <a:miter/>
              </a:ln>
            </p:spPr>
            <p:txBody>
              <a:bodyPr rtlCol="0" anchor="ctr"/>
              <a:lstStyle/>
              <a:p>
                <a:endParaRPr lang="en-SE"/>
              </a:p>
            </p:txBody>
          </p:sp>
          <p:sp>
            <p:nvSpPr>
              <p:cNvPr id="10" name="Freeform 9">
                <a:extLst>
                  <a:ext uri="{FF2B5EF4-FFF2-40B4-BE49-F238E27FC236}">
                    <a16:creationId xmlns:a16="http://schemas.microsoft.com/office/drawing/2014/main" id="{F9F382E8-495E-B643-97A3-B500C7331C97}"/>
                  </a:ext>
                </a:extLst>
              </p:cNvPr>
              <p:cNvSpPr/>
              <p:nvPr/>
            </p:nvSpPr>
            <p:spPr>
              <a:xfrm>
                <a:off x="3697739" y="3266662"/>
                <a:ext cx="100470" cy="100823"/>
              </a:xfrm>
              <a:custGeom>
                <a:avLst/>
                <a:gdLst>
                  <a:gd name="connsiteX0" fmla="*/ 100470 w 100470"/>
                  <a:gd name="connsiteY0" fmla="*/ 50412 h 100823"/>
                  <a:gd name="connsiteX1" fmla="*/ 50235 w 100470"/>
                  <a:gd name="connsiteY1" fmla="*/ 100824 h 100823"/>
                  <a:gd name="connsiteX2" fmla="*/ 0 w 100470"/>
                  <a:gd name="connsiteY2" fmla="*/ 50412 h 100823"/>
                  <a:gd name="connsiteX3" fmla="*/ 50235 w 100470"/>
                  <a:gd name="connsiteY3" fmla="*/ 0 h 100823"/>
                  <a:gd name="connsiteX4" fmla="*/ 100470 w 100470"/>
                  <a:gd name="connsiteY4" fmla="*/ 50412 h 100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0" h="100823">
                    <a:moveTo>
                      <a:pt x="100470" y="50412"/>
                    </a:moveTo>
                    <a:cubicBezTo>
                      <a:pt x="100470" y="78254"/>
                      <a:pt x="77979" y="100824"/>
                      <a:pt x="50235" y="100824"/>
                    </a:cubicBezTo>
                    <a:cubicBezTo>
                      <a:pt x="22491" y="100824"/>
                      <a:pt x="0" y="78254"/>
                      <a:pt x="0" y="50412"/>
                    </a:cubicBezTo>
                    <a:cubicBezTo>
                      <a:pt x="0" y="22570"/>
                      <a:pt x="22491" y="0"/>
                      <a:pt x="50235" y="0"/>
                    </a:cubicBezTo>
                    <a:cubicBezTo>
                      <a:pt x="77979" y="0"/>
                      <a:pt x="100470" y="22570"/>
                      <a:pt x="100470" y="50412"/>
                    </a:cubicBezTo>
                    <a:close/>
                  </a:path>
                </a:pathLst>
              </a:custGeom>
              <a:solidFill>
                <a:srgbClr val="FFC556"/>
              </a:solidFill>
              <a:ln w="18582" cap="flat">
                <a:noFill/>
                <a:prstDash val="solid"/>
                <a:miter/>
              </a:ln>
            </p:spPr>
            <p:txBody>
              <a:bodyPr rtlCol="0" anchor="ctr"/>
              <a:lstStyle/>
              <a:p>
                <a:endParaRPr lang="en-SE"/>
              </a:p>
            </p:txBody>
          </p:sp>
          <p:sp>
            <p:nvSpPr>
              <p:cNvPr id="11" name="Freeform 10">
                <a:extLst>
                  <a:ext uri="{FF2B5EF4-FFF2-40B4-BE49-F238E27FC236}">
                    <a16:creationId xmlns:a16="http://schemas.microsoft.com/office/drawing/2014/main" id="{A41E58D1-EE46-1143-958E-2748B3013265}"/>
                  </a:ext>
                </a:extLst>
              </p:cNvPr>
              <p:cNvSpPr/>
              <p:nvPr/>
            </p:nvSpPr>
            <p:spPr>
              <a:xfrm>
                <a:off x="4168460" y="3229320"/>
                <a:ext cx="174892" cy="175508"/>
              </a:xfrm>
              <a:custGeom>
                <a:avLst/>
                <a:gdLst>
                  <a:gd name="connsiteX0" fmla="*/ 174893 w 174892"/>
                  <a:gd name="connsiteY0" fmla="*/ 87754 h 175508"/>
                  <a:gd name="connsiteX1" fmla="*/ 87446 w 174892"/>
                  <a:gd name="connsiteY1" fmla="*/ 175508 h 175508"/>
                  <a:gd name="connsiteX2" fmla="*/ 0 w 174892"/>
                  <a:gd name="connsiteY2" fmla="*/ 87754 h 175508"/>
                  <a:gd name="connsiteX3" fmla="*/ 87446 w 174892"/>
                  <a:gd name="connsiteY3" fmla="*/ 0 h 175508"/>
                  <a:gd name="connsiteX4" fmla="*/ 174893 w 174892"/>
                  <a:gd name="connsiteY4" fmla="*/ 87754 h 175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92" h="175508">
                    <a:moveTo>
                      <a:pt x="174893" y="87754"/>
                    </a:moveTo>
                    <a:cubicBezTo>
                      <a:pt x="174893" y="136219"/>
                      <a:pt x="135741" y="175508"/>
                      <a:pt x="87446" y="175508"/>
                    </a:cubicBezTo>
                    <a:cubicBezTo>
                      <a:pt x="39151" y="175508"/>
                      <a:pt x="0" y="136219"/>
                      <a:pt x="0" y="87754"/>
                    </a:cubicBezTo>
                    <a:cubicBezTo>
                      <a:pt x="0" y="39289"/>
                      <a:pt x="39151" y="0"/>
                      <a:pt x="87446" y="0"/>
                    </a:cubicBezTo>
                    <a:cubicBezTo>
                      <a:pt x="135741" y="0"/>
                      <a:pt x="174893" y="39289"/>
                      <a:pt x="174893" y="87754"/>
                    </a:cubicBezTo>
                    <a:close/>
                  </a:path>
                </a:pathLst>
              </a:custGeom>
              <a:solidFill>
                <a:srgbClr val="FFC556"/>
              </a:solidFill>
              <a:ln w="18582" cap="flat">
                <a:noFill/>
                <a:prstDash val="solid"/>
                <a:miter/>
              </a:ln>
            </p:spPr>
            <p:txBody>
              <a:bodyPr rtlCol="0" anchor="ctr"/>
              <a:lstStyle/>
              <a:p>
                <a:endParaRPr lang="en-SE"/>
              </a:p>
            </p:txBody>
          </p:sp>
          <p:sp>
            <p:nvSpPr>
              <p:cNvPr id="12" name="Freeform 11">
                <a:extLst>
                  <a:ext uri="{FF2B5EF4-FFF2-40B4-BE49-F238E27FC236}">
                    <a16:creationId xmlns:a16="http://schemas.microsoft.com/office/drawing/2014/main" id="{AC3BE641-8350-0F4D-8337-28D36DC9D02E}"/>
                  </a:ext>
                </a:extLst>
              </p:cNvPr>
              <p:cNvSpPr/>
              <p:nvPr/>
            </p:nvSpPr>
            <p:spPr>
              <a:xfrm>
                <a:off x="4516384" y="3591539"/>
                <a:ext cx="174892" cy="175508"/>
              </a:xfrm>
              <a:custGeom>
                <a:avLst/>
                <a:gdLst>
                  <a:gd name="connsiteX0" fmla="*/ 174893 w 174892"/>
                  <a:gd name="connsiteY0" fmla="*/ 87754 h 175508"/>
                  <a:gd name="connsiteX1" fmla="*/ 87446 w 174892"/>
                  <a:gd name="connsiteY1" fmla="*/ 175508 h 175508"/>
                  <a:gd name="connsiteX2" fmla="*/ 0 w 174892"/>
                  <a:gd name="connsiteY2" fmla="*/ 87754 h 175508"/>
                  <a:gd name="connsiteX3" fmla="*/ 87446 w 174892"/>
                  <a:gd name="connsiteY3" fmla="*/ 0 h 175508"/>
                  <a:gd name="connsiteX4" fmla="*/ 174893 w 174892"/>
                  <a:gd name="connsiteY4" fmla="*/ 87754 h 175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92" h="175508">
                    <a:moveTo>
                      <a:pt x="174893" y="87754"/>
                    </a:moveTo>
                    <a:cubicBezTo>
                      <a:pt x="174893" y="136219"/>
                      <a:pt x="135741" y="175508"/>
                      <a:pt x="87446" y="175508"/>
                    </a:cubicBezTo>
                    <a:cubicBezTo>
                      <a:pt x="39151" y="175508"/>
                      <a:pt x="0" y="136219"/>
                      <a:pt x="0" y="87754"/>
                    </a:cubicBezTo>
                    <a:cubicBezTo>
                      <a:pt x="0" y="39289"/>
                      <a:pt x="39151" y="0"/>
                      <a:pt x="87446" y="0"/>
                    </a:cubicBezTo>
                    <a:cubicBezTo>
                      <a:pt x="135741" y="0"/>
                      <a:pt x="174893" y="39289"/>
                      <a:pt x="174893" y="87754"/>
                    </a:cubicBezTo>
                    <a:close/>
                  </a:path>
                </a:pathLst>
              </a:custGeom>
              <a:solidFill>
                <a:srgbClr val="FFC556"/>
              </a:solidFill>
              <a:ln w="18582" cap="flat">
                <a:noFill/>
                <a:prstDash val="solid"/>
                <a:miter/>
              </a:ln>
            </p:spPr>
            <p:txBody>
              <a:bodyPr rtlCol="0" anchor="ctr"/>
              <a:lstStyle/>
              <a:p>
                <a:endParaRPr lang="en-SE"/>
              </a:p>
            </p:txBody>
          </p:sp>
          <p:sp>
            <p:nvSpPr>
              <p:cNvPr id="13" name="Freeform 12">
                <a:extLst>
                  <a:ext uri="{FF2B5EF4-FFF2-40B4-BE49-F238E27FC236}">
                    <a16:creationId xmlns:a16="http://schemas.microsoft.com/office/drawing/2014/main" id="{44BA40BB-45AD-0B45-BB41-1BB6A4553C78}"/>
                  </a:ext>
                </a:extLst>
              </p:cNvPr>
              <p:cNvSpPr/>
              <p:nvPr/>
            </p:nvSpPr>
            <p:spPr>
              <a:xfrm>
                <a:off x="4533129" y="2605705"/>
                <a:ext cx="141402" cy="141900"/>
              </a:xfrm>
              <a:custGeom>
                <a:avLst/>
                <a:gdLst>
                  <a:gd name="connsiteX0" fmla="*/ 141402 w 141402"/>
                  <a:gd name="connsiteY0" fmla="*/ 70950 h 141900"/>
                  <a:gd name="connsiteX1" fmla="*/ 70701 w 141402"/>
                  <a:gd name="connsiteY1" fmla="*/ 141900 h 141900"/>
                  <a:gd name="connsiteX2" fmla="*/ 0 w 141402"/>
                  <a:gd name="connsiteY2" fmla="*/ 70950 h 141900"/>
                  <a:gd name="connsiteX3" fmla="*/ 70701 w 141402"/>
                  <a:gd name="connsiteY3" fmla="*/ 0 h 141900"/>
                  <a:gd name="connsiteX4" fmla="*/ 141402 w 141402"/>
                  <a:gd name="connsiteY4" fmla="*/ 70950 h 141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402" h="141900">
                    <a:moveTo>
                      <a:pt x="141402" y="70950"/>
                    </a:moveTo>
                    <a:cubicBezTo>
                      <a:pt x="141402" y="110135"/>
                      <a:pt x="109748" y="141900"/>
                      <a:pt x="70701" y="141900"/>
                    </a:cubicBezTo>
                    <a:cubicBezTo>
                      <a:pt x="31654" y="141900"/>
                      <a:pt x="0" y="110135"/>
                      <a:pt x="0" y="70950"/>
                    </a:cubicBezTo>
                    <a:cubicBezTo>
                      <a:pt x="0" y="31765"/>
                      <a:pt x="31654" y="0"/>
                      <a:pt x="70701" y="0"/>
                    </a:cubicBezTo>
                    <a:cubicBezTo>
                      <a:pt x="109748" y="0"/>
                      <a:pt x="141402" y="31766"/>
                      <a:pt x="141402" y="70950"/>
                    </a:cubicBezTo>
                    <a:close/>
                  </a:path>
                </a:pathLst>
              </a:custGeom>
              <a:solidFill>
                <a:srgbClr val="FFC556"/>
              </a:solidFill>
              <a:ln w="18582" cap="flat">
                <a:noFill/>
                <a:prstDash val="solid"/>
                <a:miter/>
              </a:ln>
            </p:spPr>
            <p:txBody>
              <a:bodyPr rtlCol="0" anchor="ctr"/>
              <a:lstStyle/>
              <a:p>
                <a:endParaRPr lang="en-SE"/>
              </a:p>
            </p:txBody>
          </p:sp>
          <p:sp>
            <p:nvSpPr>
              <p:cNvPr id="14" name="Freeform 13">
                <a:extLst>
                  <a:ext uri="{FF2B5EF4-FFF2-40B4-BE49-F238E27FC236}">
                    <a16:creationId xmlns:a16="http://schemas.microsoft.com/office/drawing/2014/main" id="{04ED8ABF-6E99-964F-AD75-F82338435880}"/>
                  </a:ext>
                </a:extLst>
              </p:cNvPr>
              <p:cNvSpPr/>
              <p:nvPr/>
            </p:nvSpPr>
            <p:spPr>
              <a:xfrm>
                <a:off x="4553596" y="2415259"/>
                <a:ext cx="100470" cy="100823"/>
              </a:xfrm>
              <a:custGeom>
                <a:avLst/>
                <a:gdLst>
                  <a:gd name="connsiteX0" fmla="*/ 100470 w 100470"/>
                  <a:gd name="connsiteY0" fmla="*/ 50412 h 100823"/>
                  <a:gd name="connsiteX1" fmla="*/ 50235 w 100470"/>
                  <a:gd name="connsiteY1" fmla="*/ 100824 h 100823"/>
                  <a:gd name="connsiteX2" fmla="*/ 0 w 100470"/>
                  <a:gd name="connsiteY2" fmla="*/ 50412 h 100823"/>
                  <a:gd name="connsiteX3" fmla="*/ 50235 w 100470"/>
                  <a:gd name="connsiteY3" fmla="*/ 0 h 100823"/>
                  <a:gd name="connsiteX4" fmla="*/ 100470 w 100470"/>
                  <a:gd name="connsiteY4" fmla="*/ 50412 h 100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0" h="100823">
                    <a:moveTo>
                      <a:pt x="100470" y="50412"/>
                    </a:moveTo>
                    <a:cubicBezTo>
                      <a:pt x="100470" y="78254"/>
                      <a:pt x="77979" y="100824"/>
                      <a:pt x="50235" y="100824"/>
                    </a:cubicBezTo>
                    <a:cubicBezTo>
                      <a:pt x="22491" y="100824"/>
                      <a:pt x="0" y="78254"/>
                      <a:pt x="0" y="50412"/>
                    </a:cubicBezTo>
                    <a:cubicBezTo>
                      <a:pt x="0" y="22570"/>
                      <a:pt x="22491" y="0"/>
                      <a:pt x="50235" y="0"/>
                    </a:cubicBezTo>
                    <a:cubicBezTo>
                      <a:pt x="77979" y="0"/>
                      <a:pt x="100470" y="22570"/>
                      <a:pt x="100470" y="50412"/>
                    </a:cubicBezTo>
                    <a:close/>
                  </a:path>
                </a:pathLst>
              </a:custGeom>
              <a:solidFill>
                <a:srgbClr val="FFC556"/>
              </a:solidFill>
              <a:ln w="18582" cap="flat">
                <a:noFill/>
                <a:prstDash val="solid"/>
                <a:miter/>
              </a:ln>
            </p:spPr>
            <p:txBody>
              <a:bodyPr rtlCol="0" anchor="ctr"/>
              <a:lstStyle/>
              <a:p>
                <a:endParaRPr lang="en-SE"/>
              </a:p>
            </p:txBody>
          </p:sp>
          <p:sp>
            <p:nvSpPr>
              <p:cNvPr id="15" name="Freeform 14">
                <a:extLst>
                  <a:ext uri="{FF2B5EF4-FFF2-40B4-BE49-F238E27FC236}">
                    <a16:creationId xmlns:a16="http://schemas.microsoft.com/office/drawing/2014/main" id="{BA0DD304-D065-8643-81BF-5660F0936793}"/>
                  </a:ext>
                </a:extLst>
              </p:cNvPr>
              <p:cNvSpPr/>
              <p:nvPr/>
            </p:nvSpPr>
            <p:spPr>
              <a:xfrm>
                <a:off x="4516384" y="2870834"/>
                <a:ext cx="174892" cy="175508"/>
              </a:xfrm>
              <a:custGeom>
                <a:avLst/>
                <a:gdLst>
                  <a:gd name="connsiteX0" fmla="*/ 174893 w 174892"/>
                  <a:gd name="connsiteY0" fmla="*/ 87754 h 175508"/>
                  <a:gd name="connsiteX1" fmla="*/ 87446 w 174892"/>
                  <a:gd name="connsiteY1" fmla="*/ 175508 h 175508"/>
                  <a:gd name="connsiteX2" fmla="*/ 0 w 174892"/>
                  <a:gd name="connsiteY2" fmla="*/ 87754 h 175508"/>
                  <a:gd name="connsiteX3" fmla="*/ 87446 w 174892"/>
                  <a:gd name="connsiteY3" fmla="*/ 0 h 175508"/>
                  <a:gd name="connsiteX4" fmla="*/ 174893 w 174892"/>
                  <a:gd name="connsiteY4" fmla="*/ 87754 h 175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92" h="175508">
                    <a:moveTo>
                      <a:pt x="174893" y="87754"/>
                    </a:moveTo>
                    <a:cubicBezTo>
                      <a:pt x="174893" y="136219"/>
                      <a:pt x="135741" y="175508"/>
                      <a:pt x="87446" y="175508"/>
                    </a:cubicBezTo>
                    <a:cubicBezTo>
                      <a:pt x="39151" y="175508"/>
                      <a:pt x="0" y="136219"/>
                      <a:pt x="0" y="87754"/>
                    </a:cubicBezTo>
                    <a:cubicBezTo>
                      <a:pt x="0" y="39289"/>
                      <a:pt x="39151" y="0"/>
                      <a:pt x="87446" y="0"/>
                    </a:cubicBezTo>
                    <a:cubicBezTo>
                      <a:pt x="135741" y="0"/>
                      <a:pt x="174893" y="39289"/>
                      <a:pt x="174893" y="87754"/>
                    </a:cubicBezTo>
                    <a:close/>
                  </a:path>
                </a:pathLst>
              </a:custGeom>
              <a:solidFill>
                <a:srgbClr val="FFC556"/>
              </a:solidFill>
              <a:ln w="18582" cap="flat">
                <a:noFill/>
                <a:prstDash val="solid"/>
                <a:miter/>
              </a:ln>
            </p:spPr>
            <p:txBody>
              <a:bodyPr rtlCol="0" anchor="ctr"/>
              <a:lstStyle/>
              <a:p>
                <a:endParaRPr lang="en-SE"/>
              </a:p>
            </p:txBody>
          </p:sp>
          <p:sp>
            <p:nvSpPr>
              <p:cNvPr id="16" name="Freeform 15">
                <a:extLst>
                  <a:ext uri="{FF2B5EF4-FFF2-40B4-BE49-F238E27FC236}">
                    <a16:creationId xmlns:a16="http://schemas.microsoft.com/office/drawing/2014/main" id="{7542BEE0-0DEF-5F47-A210-BDDF4ADEC9B1}"/>
                  </a:ext>
                </a:extLst>
              </p:cNvPr>
              <p:cNvSpPr/>
              <p:nvPr/>
            </p:nvSpPr>
            <p:spPr>
              <a:xfrm>
                <a:off x="4533129" y="3886542"/>
                <a:ext cx="141402" cy="141900"/>
              </a:xfrm>
              <a:custGeom>
                <a:avLst/>
                <a:gdLst>
                  <a:gd name="connsiteX0" fmla="*/ 141402 w 141402"/>
                  <a:gd name="connsiteY0" fmla="*/ 70950 h 141900"/>
                  <a:gd name="connsiteX1" fmla="*/ 70701 w 141402"/>
                  <a:gd name="connsiteY1" fmla="*/ 141900 h 141900"/>
                  <a:gd name="connsiteX2" fmla="*/ 0 w 141402"/>
                  <a:gd name="connsiteY2" fmla="*/ 70950 h 141900"/>
                  <a:gd name="connsiteX3" fmla="*/ 70701 w 141402"/>
                  <a:gd name="connsiteY3" fmla="*/ 0 h 141900"/>
                  <a:gd name="connsiteX4" fmla="*/ 141402 w 141402"/>
                  <a:gd name="connsiteY4" fmla="*/ 70950 h 141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402" h="141900">
                    <a:moveTo>
                      <a:pt x="141402" y="70950"/>
                    </a:moveTo>
                    <a:cubicBezTo>
                      <a:pt x="141402" y="110135"/>
                      <a:pt x="109748" y="141900"/>
                      <a:pt x="70701" y="141900"/>
                    </a:cubicBezTo>
                    <a:cubicBezTo>
                      <a:pt x="31654" y="141900"/>
                      <a:pt x="0" y="110135"/>
                      <a:pt x="0" y="70950"/>
                    </a:cubicBezTo>
                    <a:cubicBezTo>
                      <a:pt x="0" y="31766"/>
                      <a:pt x="31654" y="0"/>
                      <a:pt x="70701" y="0"/>
                    </a:cubicBezTo>
                    <a:cubicBezTo>
                      <a:pt x="109748" y="0"/>
                      <a:pt x="141402" y="31765"/>
                      <a:pt x="141402" y="70950"/>
                    </a:cubicBezTo>
                    <a:close/>
                  </a:path>
                </a:pathLst>
              </a:custGeom>
              <a:solidFill>
                <a:srgbClr val="FFC556"/>
              </a:solidFill>
              <a:ln w="18582" cap="flat">
                <a:noFill/>
                <a:prstDash val="solid"/>
                <a:miter/>
              </a:ln>
            </p:spPr>
            <p:txBody>
              <a:bodyPr rtlCol="0" anchor="ctr"/>
              <a:lstStyle/>
              <a:p>
                <a:endParaRPr lang="en-SE"/>
              </a:p>
            </p:txBody>
          </p:sp>
          <p:sp>
            <p:nvSpPr>
              <p:cNvPr id="17" name="Freeform 16">
                <a:extLst>
                  <a:ext uri="{FF2B5EF4-FFF2-40B4-BE49-F238E27FC236}">
                    <a16:creationId xmlns:a16="http://schemas.microsoft.com/office/drawing/2014/main" id="{8E91DA40-6B47-D34F-B512-B38F445D14BC}"/>
                  </a:ext>
                </a:extLst>
              </p:cNvPr>
              <p:cNvSpPr/>
              <p:nvPr/>
            </p:nvSpPr>
            <p:spPr>
              <a:xfrm>
                <a:off x="4553596" y="4118064"/>
                <a:ext cx="100470" cy="100823"/>
              </a:xfrm>
              <a:custGeom>
                <a:avLst/>
                <a:gdLst>
                  <a:gd name="connsiteX0" fmla="*/ 100470 w 100470"/>
                  <a:gd name="connsiteY0" fmla="*/ 50412 h 100823"/>
                  <a:gd name="connsiteX1" fmla="*/ 50235 w 100470"/>
                  <a:gd name="connsiteY1" fmla="*/ 100824 h 100823"/>
                  <a:gd name="connsiteX2" fmla="*/ 0 w 100470"/>
                  <a:gd name="connsiteY2" fmla="*/ 50412 h 100823"/>
                  <a:gd name="connsiteX3" fmla="*/ 50235 w 100470"/>
                  <a:gd name="connsiteY3" fmla="*/ 0 h 100823"/>
                  <a:gd name="connsiteX4" fmla="*/ 100470 w 100470"/>
                  <a:gd name="connsiteY4" fmla="*/ 50412 h 100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0" h="100823">
                    <a:moveTo>
                      <a:pt x="100470" y="50412"/>
                    </a:moveTo>
                    <a:cubicBezTo>
                      <a:pt x="100470" y="78254"/>
                      <a:pt x="77979" y="100824"/>
                      <a:pt x="50235" y="100824"/>
                    </a:cubicBezTo>
                    <a:cubicBezTo>
                      <a:pt x="22491" y="100824"/>
                      <a:pt x="0" y="78254"/>
                      <a:pt x="0" y="50412"/>
                    </a:cubicBezTo>
                    <a:cubicBezTo>
                      <a:pt x="0" y="22570"/>
                      <a:pt x="22491" y="0"/>
                      <a:pt x="50235" y="0"/>
                    </a:cubicBezTo>
                    <a:cubicBezTo>
                      <a:pt x="77979" y="0"/>
                      <a:pt x="100470" y="22570"/>
                      <a:pt x="100470" y="50412"/>
                    </a:cubicBezTo>
                    <a:close/>
                  </a:path>
                </a:pathLst>
              </a:custGeom>
              <a:solidFill>
                <a:srgbClr val="FFC556"/>
              </a:solidFill>
              <a:ln w="18582" cap="flat">
                <a:noFill/>
                <a:prstDash val="solid"/>
                <a:miter/>
              </a:ln>
            </p:spPr>
            <p:txBody>
              <a:bodyPr rtlCol="0" anchor="ctr"/>
              <a:lstStyle/>
              <a:p>
                <a:endParaRPr lang="en-SE"/>
              </a:p>
            </p:txBody>
          </p:sp>
          <p:sp>
            <p:nvSpPr>
              <p:cNvPr id="18" name="Freeform 17">
                <a:extLst>
                  <a:ext uri="{FF2B5EF4-FFF2-40B4-BE49-F238E27FC236}">
                    <a16:creationId xmlns:a16="http://schemas.microsoft.com/office/drawing/2014/main" id="{B5C71FFC-2A6C-1140-9F8A-7EDF59F69659}"/>
                  </a:ext>
                </a:extLst>
              </p:cNvPr>
              <p:cNvSpPr/>
              <p:nvPr/>
            </p:nvSpPr>
            <p:spPr>
              <a:xfrm>
                <a:off x="4795468" y="2949253"/>
                <a:ext cx="174892" cy="175508"/>
              </a:xfrm>
              <a:custGeom>
                <a:avLst/>
                <a:gdLst>
                  <a:gd name="connsiteX0" fmla="*/ 174893 w 174892"/>
                  <a:gd name="connsiteY0" fmla="*/ 87754 h 175508"/>
                  <a:gd name="connsiteX1" fmla="*/ 87446 w 174892"/>
                  <a:gd name="connsiteY1" fmla="*/ 175508 h 175508"/>
                  <a:gd name="connsiteX2" fmla="*/ 0 w 174892"/>
                  <a:gd name="connsiteY2" fmla="*/ 87754 h 175508"/>
                  <a:gd name="connsiteX3" fmla="*/ 87446 w 174892"/>
                  <a:gd name="connsiteY3" fmla="*/ 0 h 175508"/>
                  <a:gd name="connsiteX4" fmla="*/ 174893 w 174892"/>
                  <a:gd name="connsiteY4" fmla="*/ 87754 h 175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92" h="175508">
                    <a:moveTo>
                      <a:pt x="174893" y="87754"/>
                    </a:moveTo>
                    <a:cubicBezTo>
                      <a:pt x="174893" y="136219"/>
                      <a:pt x="135741" y="175508"/>
                      <a:pt x="87446" y="175508"/>
                    </a:cubicBezTo>
                    <a:cubicBezTo>
                      <a:pt x="39151" y="175508"/>
                      <a:pt x="0" y="136219"/>
                      <a:pt x="0" y="87754"/>
                    </a:cubicBezTo>
                    <a:cubicBezTo>
                      <a:pt x="0" y="39289"/>
                      <a:pt x="39151" y="0"/>
                      <a:pt x="87446" y="0"/>
                    </a:cubicBezTo>
                    <a:cubicBezTo>
                      <a:pt x="135742" y="0"/>
                      <a:pt x="174893" y="39289"/>
                      <a:pt x="174893" y="87754"/>
                    </a:cubicBezTo>
                    <a:close/>
                  </a:path>
                </a:pathLst>
              </a:custGeom>
              <a:solidFill>
                <a:srgbClr val="2D708F"/>
              </a:solidFill>
              <a:ln w="18582" cap="flat">
                <a:noFill/>
                <a:prstDash val="solid"/>
                <a:miter/>
              </a:ln>
            </p:spPr>
            <p:txBody>
              <a:bodyPr rtlCol="0" anchor="ctr"/>
              <a:lstStyle/>
              <a:p>
                <a:endParaRPr lang="en-SE"/>
              </a:p>
            </p:txBody>
          </p:sp>
          <p:sp>
            <p:nvSpPr>
              <p:cNvPr id="19" name="Freeform 18">
                <a:extLst>
                  <a:ext uri="{FF2B5EF4-FFF2-40B4-BE49-F238E27FC236}">
                    <a16:creationId xmlns:a16="http://schemas.microsoft.com/office/drawing/2014/main" id="{EE772CA8-69D6-F747-9B53-BBE1E41CB775}"/>
                  </a:ext>
                </a:extLst>
              </p:cNvPr>
              <p:cNvSpPr/>
              <p:nvPr/>
            </p:nvSpPr>
            <p:spPr>
              <a:xfrm>
                <a:off x="4935010" y="2536622"/>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20" name="Freeform 19">
                <a:extLst>
                  <a:ext uri="{FF2B5EF4-FFF2-40B4-BE49-F238E27FC236}">
                    <a16:creationId xmlns:a16="http://schemas.microsoft.com/office/drawing/2014/main" id="{67A93421-C61E-7845-814F-EA6767CD6D7A}"/>
                  </a:ext>
                </a:extLst>
              </p:cNvPr>
              <p:cNvSpPr/>
              <p:nvPr/>
            </p:nvSpPr>
            <p:spPr>
              <a:xfrm>
                <a:off x="4769420" y="2699060"/>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21" name="Freeform 20">
                <a:extLst>
                  <a:ext uri="{FF2B5EF4-FFF2-40B4-BE49-F238E27FC236}">
                    <a16:creationId xmlns:a16="http://schemas.microsoft.com/office/drawing/2014/main" id="{C73DD2EC-F939-3F45-9AE9-059E4E58A1B2}"/>
                  </a:ext>
                </a:extLst>
              </p:cNvPr>
              <p:cNvSpPr/>
              <p:nvPr/>
            </p:nvSpPr>
            <p:spPr>
              <a:xfrm>
                <a:off x="4322886" y="2682256"/>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22" name="Freeform 21">
                <a:extLst>
                  <a:ext uri="{FF2B5EF4-FFF2-40B4-BE49-F238E27FC236}">
                    <a16:creationId xmlns:a16="http://schemas.microsoft.com/office/drawing/2014/main" id="{6C810388-2F5D-C14B-94F9-D8CC3E363A35}"/>
                  </a:ext>
                </a:extLst>
              </p:cNvPr>
              <p:cNvSpPr/>
              <p:nvPr/>
            </p:nvSpPr>
            <p:spPr>
              <a:xfrm>
                <a:off x="4153575" y="2512349"/>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23" name="Freeform 22">
                <a:extLst>
                  <a:ext uri="{FF2B5EF4-FFF2-40B4-BE49-F238E27FC236}">
                    <a16:creationId xmlns:a16="http://schemas.microsoft.com/office/drawing/2014/main" id="{DB4AD575-E336-3A4D-8E82-8D0EAAC103E8}"/>
                  </a:ext>
                </a:extLst>
              </p:cNvPr>
              <p:cNvSpPr/>
              <p:nvPr/>
            </p:nvSpPr>
            <p:spPr>
              <a:xfrm>
                <a:off x="5258747" y="2861499"/>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24" name="Freeform 23">
                <a:extLst>
                  <a:ext uri="{FF2B5EF4-FFF2-40B4-BE49-F238E27FC236}">
                    <a16:creationId xmlns:a16="http://schemas.microsoft.com/office/drawing/2014/main" id="{AB087961-E942-5540-B3B4-21099AAB3F64}"/>
                  </a:ext>
                </a:extLst>
              </p:cNvPr>
              <p:cNvSpPr/>
              <p:nvPr/>
            </p:nvSpPr>
            <p:spPr>
              <a:xfrm>
                <a:off x="5091297" y="3022070"/>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25" name="Freeform 24">
                <a:extLst>
                  <a:ext uri="{FF2B5EF4-FFF2-40B4-BE49-F238E27FC236}">
                    <a16:creationId xmlns:a16="http://schemas.microsoft.com/office/drawing/2014/main" id="{26B82D28-62A7-A049-96B6-1389F554FD69}"/>
                  </a:ext>
                </a:extLst>
              </p:cNvPr>
              <p:cNvSpPr/>
              <p:nvPr/>
            </p:nvSpPr>
            <p:spPr>
              <a:xfrm>
                <a:off x="4987106" y="2801751"/>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26" name="Freeform 25">
                <a:extLst>
                  <a:ext uri="{FF2B5EF4-FFF2-40B4-BE49-F238E27FC236}">
                    <a16:creationId xmlns:a16="http://schemas.microsoft.com/office/drawing/2014/main" id="{88B50245-EAB0-0243-9256-E10AF46D6CB9}"/>
                  </a:ext>
                </a:extLst>
              </p:cNvPr>
              <p:cNvSpPr/>
              <p:nvPr/>
            </p:nvSpPr>
            <p:spPr>
              <a:xfrm>
                <a:off x="5375963" y="3091153"/>
                <a:ext cx="85585" cy="85887"/>
              </a:xfrm>
              <a:custGeom>
                <a:avLst/>
                <a:gdLst>
                  <a:gd name="connsiteX0" fmla="*/ 85586 w 85585"/>
                  <a:gd name="connsiteY0" fmla="*/ 42944 h 85887"/>
                  <a:gd name="connsiteX1" fmla="*/ 42793 w 85585"/>
                  <a:gd name="connsiteY1" fmla="*/ 85887 h 85887"/>
                  <a:gd name="connsiteX2" fmla="*/ 0 w 85585"/>
                  <a:gd name="connsiteY2" fmla="*/ 42944 h 85887"/>
                  <a:gd name="connsiteX3" fmla="*/ 42793 w 85585"/>
                  <a:gd name="connsiteY3" fmla="*/ 0 h 85887"/>
                  <a:gd name="connsiteX4" fmla="*/ 85586 w 85585"/>
                  <a:gd name="connsiteY4" fmla="*/ 42944 h 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85" h="85887">
                    <a:moveTo>
                      <a:pt x="85586" y="42944"/>
                    </a:moveTo>
                    <a:cubicBezTo>
                      <a:pt x="85586" y="66661"/>
                      <a:pt x="66427" y="85887"/>
                      <a:pt x="42793" y="85887"/>
                    </a:cubicBezTo>
                    <a:cubicBezTo>
                      <a:pt x="19159" y="85887"/>
                      <a:pt x="0" y="66661"/>
                      <a:pt x="0" y="42944"/>
                    </a:cubicBezTo>
                    <a:cubicBezTo>
                      <a:pt x="0" y="19226"/>
                      <a:pt x="19159" y="0"/>
                      <a:pt x="42793" y="0"/>
                    </a:cubicBezTo>
                    <a:cubicBezTo>
                      <a:pt x="66427" y="0"/>
                      <a:pt x="85586" y="19226"/>
                      <a:pt x="85586" y="42944"/>
                    </a:cubicBezTo>
                    <a:close/>
                  </a:path>
                </a:pathLst>
              </a:custGeom>
              <a:solidFill>
                <a:srgbClr val="2D708F"/>
              </a:solidFill>
              <a:ln w="18582" cap="flat">
                <a:noFill/>
                <a:prstDash val="solid"/>
                <a:miter/>
              </a:ln>
            </p:spPr>
            <p:txBody>
              <a:bodyPr rtlCol="0" anchor="ctr"/>
              <a:lstStyle/>
              <a:p>
                <a:endParaRPr lang="en-SE"/>
              </a:p>
            </p:txBody>
          </p:sp>
          <p:sp>
            <p:nvSpPr>
              <p:cNvPr id="27" name="Freeform 26">
                <a:extLst>
                  <a:ext uri="{FF2B5EF4-FFF2-40B4-BE49-F238E27FC236}">
                    <a16:creationId xmlns:a16="http://schemas.microsoft.com/office/drawing/2014/main" id="{9EED76D2-4CBD-854A-8382-C6CB8B0BB90A}"/>
                  </a:ext>
                </a:extLst>
              </p:cNvPr>
              <p:cNvSpPr/>
              <p:nvPr/>
            </p:nvSpPr>
            <p:spPr>
              <a:xfrm>
                <a:off x="4745233" y="2458203"/>
                <a:ext cx="85585" cy="85887"/>
              </a:xfrm>
              <a:custGeom>
                <a:avLst/>
                <a:gdLst>
                  <a:gd name="connsiteX0" fmla="*/ 85586 w 85585"/>
                  <a:gd name="connsiteY0" fmla="*/ 42944 h 85887"/>
                  <a:gd name="connsiteX1" fmla="*/ 42793 w 85585"/>
                  <a:gd name="connsiteY1" fmla="*/ 85887 h 85887"/>
                  <a:gd name="connsiteX2" fmla="*/ 0 w 85585"/>
                  <a:gd name="connsiteY2" fmla="*/ 42944 h 85887"/>
                  <a:gd name="connsiteX3" fmla="*/ 42793 w 85585"/>
                  <a:gd name="connsiteY3" fmla="*/ 0 h 85887"/>
                  <a:gd name="connsiteX4" fmla="*/ 85586 w 85585"/>
                  <a:gd name="connsiteY4" fmla="*/ 42944 h 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85" h="85887">
                    <a:moveTo>
                      <a:pt x="85586" y="42944"/>
                    </a:moveTo>
                    <a:cubicBezTo>
                      <a:pt x="85586" y="66661"/>
                      <a:pt x="66427" y="85887"/>
                      <a:pt x="42793" y="85887"/>
                    </a:cubicBezTo>
                    <a:cubicBezTo>
                      <a:pt x="19159" y="85887"/>
                      <a:pt x="0" y="66661"/>
                      <a:pt x="0" y="42944"/>
                    </a:cubicBezTo>
                    <a:cubicBezTo>
                      <a:pt x="0" y="19226"/>
                      <a:pt x="19159" y="0"/>
                      <a:pt x="42793" y="0"/>
                    </a:cubicBezTo>
                    <a:cubicBezTo>
                      <a:pt x="66427" y="0"/>
                      <a:pt x="85586" y="19226"/>
                      <a:pt x="85586" y="42944"/>
                    </a:cubicBezTo>
                    <a:close/>
                  </a:path>
                </a:pathLst>
              </a:custGeom>
              <a:solidFill>
                <a:srgbClr val="2D708F"/>
              </a:solidFill>
              <a:ln w="18582" cap="flat">
                <a:noFill/>
                <a:prstDash val="solid"/>
                <a:miter/>
              </a:ln>
            </p:spPr>
            <p:txBody>
              <a:bodyPr rtlCol="0" anchor="ctr"/>
              <a:lstStyle/>
              <a:p>
                <a:endParaRPr lang="en-SE"/>
              </a:p>
            </p:txBody>
          </p:sp>
          <p:sp>
            <p:nvSpPr>
              <p:cNvPr id="28" name="Freeform 27">
                <a:extLst>
                  <a:ext uri="{FF2B5EF4-FFF2-40B4-BE49-F238E27FC236}">
                    <a16:creationId xmlns:a16="http://schemas.microsoft.com/office/drawing/2014/main" id="{4681099A-7746-DE45-8FC1-79FA0157A04F}"/>
                  </a:ext>
                </a:extLst>
              </p:cNvPr>
              <p:cNvSpPr/>
              <p:nvPr/>
            </p:nvSpPr>
            <p:spPr>
              <a:xfrm>
                <a:off x="4360098" y="2443266"/>
                <a:ext cx="85585" cy="85887"/>
              </a:xfrm>
              <a:custGeom>
                <a:avLst/>
                <a:gdLst>
                  <a:gd name="connsiteX0" fmla="*/ 85586 w 85585"/>
                  <a:gd name="connsiteY0" fmla="*/ 42944 h 85887"/>
                  <a:gd name="connsiteX1" fmla="*/ 42793 w 85585"/>
                  <a:gd name="connsiteY1" fmla="*/ 85887 h 85887"/>
                  <a:gd name="connsiteX2" fmla="*/ 0 w 85585"/>
                  <a:gd name="connsiteY2" fmla="*/ 42944 h 85887"/>
                  <a:gd name="connsiteX3" fmla="*/ 42793 w 85585"/>
                  <a:gd name="connsiteY3" fmla="*/ 0 h 85887"/>
                  <a:gd name="connsiteX4" fmla="*/ 85586 w 85585"/>
                  <a:gd name="connsiteY4" fmla="*/ 42944 h 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85" h="85887">
                    <a:moveTo>
                      <a:pt x="85586" y="42944"/>
                    </a:moveTo>
                    <a:cubicBezTo>
                      <a:pt x="85586" y="66661"/>
                      <a:pt x="66427" y="85887"/>
                      <a:pt x="42793" y="85887"/>
                    </a:cubicBezTo>
                    <a:cubicBezTo>
                      <a:pt x="19159" y="85887"/>
                      <a:pt x="0" y="66661"/>
                      <a:pt x="0" y="42944"/>
                    </a:cubicBezTo>
                    <a:cubicBezTo>
                      <a:pt x="0" y="19226"/>
                      <a:pt x="19159" y="0"/>
                      <a:pt x="42793" y="0"/>
                    </a:cubicBezTo>
                    <a:cubicBezTo>
                      <a:pt x="66427" y="0"/>
                      <a:pt x="85586" y="19226"/>
                      <a:pt x="85586" y="42944"/>
                    </a:cubicBezTo>
                    <a:close/>
                  </a:path>
                </a:pathLst>
              </a:custGeom>
              <a:solidFill>
                <a:srgbClr val="2D708F"/>
              </a:solidFill>
              <a:ln w="18582" cap="flat">
                <a:noFill/>
                <a:prstDash val="solid"/>
                <a:miter/>
              </a:ln>
            </p:spPr>
            <p:txBody>
              <a:bodyPr rtlCol="0" anchor="ctr"/>
              <a:lstStyle/>
              <a:p>
                <a:endParaRPr lang="en-SE"/>
              </a:p>
            </p:txBody>
          </p:sp>
          <p:sp>
            <p:nvSpPr>
              <p:cNvPr id="29" name="Freeform 28">
                <a:extLst>
                  <a:ext uri="{FF2B5EF4-FFF2-40B4-BE49-F238E27FC236}">
                    <a16:creationId xmlns:a16="http://schemas.microsoft.com/office/drawing/2014/main" id="{BEE1D3B8-F53D-8F4F-9A2D-F4DED395DCF0}"/>
                  </a:ext>
                </a:extLst>
              </p:cNvPr>
              <p:cNvSpPr/>
              <p:nvPr/>
            </p:nvSpPr>
            <p:spPr>
              <a:xfrm>
                <a:off x="5147114" y="2684123"/>
                <a:ext cx="85585" cy="85887"/>
              </a:xfrm>
              <a:custGeom>
                <a:avLst/>
                <a:gdLst>
                  <a:gd name="connsiteX0" fmla="*/ 85586 w 85585"/>
                  <a:gd name="connsiteY0" fmla="*/ 42944 h 85887"/>
                  <a:gd name="connsiteX1" fmla="*/ 42793 w 85585"/>
                  <a:gd name="connsiteY1" fmla="*/ 85887 h 85887"/>
                  <a:gd name="connsiteX2" fmla="*/ 0 w 85585"/>
                  <a:gd name="connsiteY2" fmla="*/ 42944 h 85887"/>
                  <a:gd name="connsiteX3" fmla="*/ 42793 w 85585"/>
                  <a:gd name="connsiteY3" fmla="*/ 0 h 85887"/>
                  <a:gd name="connsiteX4" fmla="*/ 85586 w 85585"/>
                  <a:gd name="connsiteY4" fmla="*/ 42944 h 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85" h="85887">
                    <a:moveTo>
                      <a:pt x="85586" y="42944"/>
                    </a:moveTo>
                    <a:cubicBezTo>
                      <a:pt x="85586" y="66661"/>
                      <a:pt x="66427" y="85887"/>
                      <a:pt x="42793" y="85887"/>
                    </a:cubicBezTo>
                    <a:cubicBezTo>
                      <a:pt x="19159" y="85887"/>
                      <a:pt x="0" y="66661"/>
                      <a:pt x="0" y="42944"/>
                    </a:cubicBezTo>
                    <a:cubicBezTo>
                      <a:pt x="0" y="19227"/>
                      <a:pt x="19159" y="0"/>
                      <a:pt x="42793" y="0"/>
                    </a:cubicBezTo>
                    <a:cubicBezTo>
                      <a:pt x="66427" y="0"/>
                      <a:pt x="85586" y="19227"/>
                      <a:pt x="85586" y="42944"/>
                    </a:cubicBezTo>
                    <a:close/>
                  </a:path>
                </a:pathLst>
              </a:custGeom>
              <a:solidFill>
                <a:srgbClr val="2D708F"/>
              </a:solidFill>
              <a:ln w="18582" cap="flat">
                <a:noFill/>
                <a:prstDash val="solid"/>
                <a:miter/>
              </a:ln>
            </p:spPr>
            <p:txBody>
              <a:bodyPr rtlCol="0" anchor="ctr"/>
              <a:lstStyle/>
              <a:p>
                <a:endParaRPr lang="en-SE"/>
              </a:p>
            </p:txBody>
          </p:sp>
          <p:sp>
            <p:nvSpPr>
              <p:cNvPr id="30" name="Freeform 29">
                <a:extLst>
                  <a:ext uri="{FF2B5EF4-FFF2-40B4-BE49-F238E27FC236}">
                    <a16:creationId xmlns:a16="http://schemas.microsoft.com/office/drawing/2014/main" id="{1CE64FFA-5E42-344A-AAC0-3A12857F3914}"/>
                  </a:ext>
                </a:extLst>
              </p:cNvPr>
              <p:cNvSpPr/>
              <p:nvPr/>
            </p:nvSpPr>
            <p:spPr>
              <a:xfrm>
                <a:off x="4220556" y="3500051"/>
                <a:ext cx="174892" cy="175508"/>
              </a:xfrm>
              <a:custGeom>
                <a:avLst/>
                <a:gdLst>
                  <a:gd name="connsiteX0" fmla="*/ 174893 w 174892"/>
                  <a:gd name="connsiteY0" fmla="*/ 87754 h 175508"/>
                  <a:gd name="connsiteX1" fmla="*/ 87446 w 174892"/>
                  <a:gd name="connsiteY1" fmla="*/ 175508 h 175508"/>
                  <a:gd name="connsiteX2" fmla="*/ 0 w 174892"/>
                  <a:gd name="connsiteY2" fmla="*/ 87754 h 175508"/>
                  <a:gd name="connsiteX3" fmla="*/ 87446 w 174892"/>
                  <a:gd name="connsiteY3" fmla="*/ 0 h 175508"/>
                  <a:gd name="connsiteX4" fmla="*/ 174893 w 174892"/>
                  <a:gd name="connsiteY4" fmla="*/ 87754 h 1755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92" h="175508">
                    <a:moveTo>
                      <a:pt x="174893" y="87754"/>
                    </a:moveTo>
                    <a:cubicBezTo>
                      <a:pt x="174893" y="136220"/>
                      <a:pt x="135741" y="175508"/>
                      <a:pt x="87446" y="175508"/>
                    </a:cubicBezTo>
                    <a:cubicBezTo>
                      <a:pt x="39151" y="175508"/>
                      <a:pt x="0" y="136219"/>
                      <a:pt x="0" y="87754"/>
                    </a:cubicBezTo>
                    <a:cubicBezTo>
                      <a:pt x="0" y="39289"/>
                      <a:pt x="39151" y="0"/>
                      <a:pt x="87446" y="0"/>
                    </a:cubicBezTo>
                    <a:cubicBezTo>
                      <a:pt x="135741" y="0"/>
                      <a:pt x="174893" y="39289"/>
                      <a:pt x="174893" y="87754"/>
                    </a:cubicBezTo>
                    <a:close/>
                  </a:path>
                </a:pathLst>
              </a:custGeom>
              <a:solidFill>
                <a:srgbClr val="2D708F"/>
              </a:solidFill>
              <a:ln w="18582" cap="flat">
                <a:noFill/>
                <a:prstDash val="solid"/>
                <a:miter/>
              </a:ln>
            </p:spPr>
            <p:txBody>
              <a:bodyPr rtlCol="0" anchor="ctr"/>
              <a:lstStyle/>
              <a:p>
                <a:endParaRPr lang="en-SE"/>
              </a:p>
            </p:txBody>
          </p:sp>
          <p:sp>
            <p:nvSpPr>
              <p:cNvPr id="31" name="Freeform 30">
                <a:extLst>
                  <a:ext uri="{FF2B5EF4-FFF2-40B4-BE49-F238E27FC236}">
                    <a16:creationId xmlns:a16="http://schemas.microsoft.com/office/drawing/2014/main" id="{5B25A69E-EFB7-E043-B493-526DFE335287}"/>
                  </a:ext>
                </a:extLst>
              </p:cNvPr>
              <p:cNvSpPr/>
              <p:nvPr/>
            </p:nvSpPr>
            <p:spPr>
              <a:xfrm>
                <a:off x="4125667" y="3957493"/>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32" name="Freeform 31">
                <a:extLst>
                  <a:ext uri="{FF2B5EF4-FFF2-40B4-BE49-F238E27FC236}">
                    <a16:creationId xmlns:a16="http://schemas.microsoft.com/office/drawing/2014/main" id="{6126F5DB-AAF8-D640-BD8A-3C96D8D4D50F}"/>
                  </a:ext>
                </a:extLst>
              </p:cNvPr>
              <p:cNvSpPr/>
              <p:nvPr/>
            </p:nvSpPr>
            <p:spPr>
              <a:xfrm>
                <a:off x="4291257" y="3795054"/>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33" name="Freeform 32">
                <a:extLst>
                  <a:ext uri="{FF2B5EF4-FFF2-40B4-BE49-F238E27FC236}">
                    <a16:creationId xmlns:a16="http://schemas.microsoft.com/office/drawing/2014/main" id="{D54F679F-A5CE-BB45-9F11-C2712EDF27D8}"/>
                  </a:ext>
                </a:extLst>
              </p:cNvPr>
              <p:cNvSpPr/>
              <p:nvPr/>
            </p:nvSpPr>
            <p:spPr>
              <a:xfrm>
                <a:off x="3801930" y="3632615"/>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34" name="Freeform 33">
                <a:extLst>
                  <a:ext uri="{FF2B5EF4-FFF2-40B4-BE49-F238E27FC236}">
                    <a16:creationId xmlns:a16="http://schemas.microsoft.com/office/drawing/2014/main" id="{6A97F5D8-1199-1E44-98B7-CCAF3D9D9499}"/>
                  </a:ext>
                </a:extLst>
              </p:cNvPr>
              <p:cNvSpPr/>
              <p:nvPr/>
            </p:nvSpPr>
            <p:spPr>
              <a:xfrm>
                <a:off x="3969380" y="3472044"/>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35" name="Freeform 34">
                <a:extLst>
                  <a:ext uri="{FF2B5EF4-FFF2-40B4-BE49-F238E27FC236}">
                    <a16:creationId xmlns:a16="http://schemas.microsoft.com/office/drawing/2014/main" id="{BF90F208-3313-E749-9364-A0F6D69B342F}"/>
                  </a:ext>
                </a:extLst>
              </p:cNvPr>
              <p:cNvSpPr/>
              <p:nvPr/>
            </p:nvSpPr>
            <p:spPr>
              <a:xfrm>
                <a:off x="4073571" y="3692363"/>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36" name="Freeform 35">
                <a:extLst>
                  <a:ext uri="{FF2B5EF4-FFF2-40B4-BE49-F238E27FC236}">
                    <a16:creationId xmlns:a16="http://schemas.microsoft.com/office/drawing/2014/main" id="{D46758A1-6488-294C-B750-8AD1FB6186C5}"/>
                  </a:ext>
                </a:extLst>
              </p:cNvPr>
              <p:cNvSpPr/>
              <p:nvPr/>
            </p:nvSpPr>
            <p:spPr>
              <a:xfrm>
                <a:off x="3729368" y="3447771"/>
                <a:ext cx="85585" cy="85887"/>
              </a:xfrm>
              <a:custGeom>
                <a:avLst/>
                <a:gdLst>
                  <a:gd name="connsiteX0" fmla="*/ 85586 w 85585"/>
                  <a:gd name="connsiteY0" fmla="*/ 42944 h 85887"/>
                  <a:gd name="connsiteX1" fmla="*/ 42793 w 85585"/>
                  <a:gd name="connsiteY1" fmla="*/ 85887 h 85887"/>
                  <a:gd name="connsiteX2" fmla="*/ 0 w 85585"/>
                  <a:gd name="connsiteY2" fmla="*/ 42944 h 85887"/>
                  <a:gd name="connsiteX3" fmla="*/ 42793 w 85585"/>
                  <a:gd name="connsiteY3" fmla="*/ 0 h 85887"/>
                  <a:gd name="connsiteX4" fmla="*/ 85586 w 85585"/>
                  <a:gd name="connsiteY4" fmla="*/ 42944 h 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85" h="85887">
                    <a:moveTo>
                      <a:pt x="85586" y="42944"/>
                    </a:moveTo>
                    <a:cubicBezTo>
                      <a:pt x="85586" y="66661"/>
                      <a:pt x="66427" y="85887"/>
                      <a:pt x="42793" y="85887"/>
                    </a:cubicBezTo>
                    <a:cubicBezTo>
                      <a:pt x="19159" y="85887"/>
                      <a:pt x="0" y="66661"/>
                      <a:pt x="0" y="42944"/>
                    </a:cubicBezTo>
                    <a:cubicBezTo>
                      <a:pt x="0" y="19226"/>
                      <a:pt x="19159" y="0"/>
                      <a:pt x="42793" y="0"/>
                    </a:cubicBezTo>
                    <a:cubicBezTo>
                      <a:pt x="66427" y="0"/>
                      <a:pt x="85586" y="19226"/>
                      <a:pt x="85586" y="42944"/>
                    </a:cubicBezTo>
                    <a:close/>
                  </a:path>
                </a:pathLst>
              </a:custGeom>
              <a:solidFill>
                <a:srgbClr val="2D708F"/>
              </a:solidFill>
              <a:ln w="18582" cap="flat">
                <a:noFill/>
                <a:prstDash val="solid"/>
                <a:miter/>
              </a:ln>
            </p:spPr>
            <p:txBody>
              <a:bodyPr rtlCol="0" anchor="ctr"/>
              <a:lstStyle/>
              <a:p>
                <a:endParaRPr lang="en-SE"/>
              </a:p>
            </p:txBody>
          </p:sp>
          <p:sp>
            <p:nvSpPr>
              <p:cNvPr id="37" name="Freeform 36">
                <a:extLst>
                  <a:ext uri="{FF2B5EF4-FFF2-40B4-BE49-F238E27FC236}">
                    <a16:creationId xmlns:a16="http://schemas.microsoft.com/office/drawing/2014/main" id="{FAA86016-7979-D840-BB0A-5011E809C056}"/>
                  </a:ext>
                </a:extLst>
              </p:cNvPr>
              <p:cNvSpPr/>
              <p:nvPr/>
            </p:nvSpPr>
            <p:spPr>
              <a:xfrm>
                <a:off x="4360098" y="4080722"/>
                <a:ext cx="85585" cy="85887"/>
              </a:xfrm>
              <a:custGeom>
                <a:avLst/>
                <a:gdLst>
                  <a:gd name="connsiteX0" fmla="*/ 85586 w 85585"/>
                  <a:gd name="connsiteY0" fmla="*/ 42944 h 85887"/>
                  <a:gd name="connsiteX1" fmla="*/ 42793 w 85585"/>
                  <a:gd name="connsiteY1" fmla="*/ 85887 h 85887"/>
                  <a:gd name="connsiteX2" fmla="*/ 0 w 85585"/>
                  <a:gd name="connsiteY2" fmla="*/ 42944 h 85887"/>
                  <a:gd name="connsiteX3" fmla="*/ 42793 w 85585"/>
                  <a:gd name="connsiteY3" fmla="*/ 0 h 85887"/>
                  <a:gd name="connsiteX4" fmla="*/ 85586 w 85585"/>
                  <a:gd name="connsiteY4" fmla="*/ 42944 h 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85" h="85887">
                    <a:moveTo>
                      <a:pt x="85586" y="42944"/>
                    </a:moveTo>
                    <a:cubicBezTo>
                      <a:pt x="85586" y="66661"/>
                      <a:pt x="66427" y="85887"/>
                      <a:pt x="42793" y="85887"/>
                    </a:cubicBezTo>
                    <a:cubicBezTo>
                      <a:pt x="19159" y="85887"/>
                      <a:pt x="0" y="66661"/>
                      <a:pt x="0" y="42944"/>
                    </a:cubicBezTo>
                    <a:cubicBezTo>
                      <a:pt x="0" y="19226"/>
                      <a:pt x="19159" y="0"/>
                      <a:pt x="42793" y="0"/>
                    </a:cubicBezTo>
                    <a:cubicBezTo>
                      <a:pt x="66427" y="0"/>
                      <a:pt x="85586" y="19226"/>
                      <a:pt x="85586" y="42944"/>
                    </a:cubicBezTo>
                    <a:close/>
                  </a:path>
                </a:pathLst>
              </a:custGeom>
              <a:solidFill>
                <a:srgbClr val="2D708F"/>
              </a:solidFill>
              <a:ln w="18582" cap="flat">
                <a:noFill/>
                <a:prstDash val="solid"/>
                <a:miter/>
              </a:ln>
            </p:spPr>
            <p:txBody>
              <a:bodyPr rtlCol="0" anchor="ctr"/>
              <a:lstStyle/>
              <a:p>
                <a:endParaRPr lang="en-SE"/>
              </a:p>
            </p:txBody>
          </p:sp>
          <p:sp>
            <p:nvSpPr>
              <p:cNvPr id="38" name="Freeform 37">
                <a:extLst>
                  <a:ext uri="{FF2B5EF4-FFF2-40B4-BE49-F238E27FC236}">
                    <a16:creationId xmlns:a16="http://schemas.microsoft.com/office/drawing/2014/main" id="{11C3B121-18DE-6645-B9A7-3625AFED8D57}"/>
                  </a:ext>
                </a:extLst>
              </p:cNvPr>
              <p:cNvSpPr/>
              <p:nvPr/>
            </p:nvSpPr>
            <p:spPr>
              <a:xfrm>
                <a:off x="3958217" y="3854802"/>
                <a:ext cx="85585" cy="85887"/>
              </a:xfrm>
              <a:custGeom>
                <a:avLst/>
                <a:gdLst>
                  <a:gd name="connsiteX0" fmla="*/ 85586 w 85585"/>
                  <a:gd name="connsiteY0" fmla="*/ 42944 h 85887"/>
                  <a:gd name="connsiteX1" fmla="*/ 42793 w 85585"/>
                  <a:gd name="connsiteY1" fmla="*/ 85887 h 85887"/>
                  <a:gd name="connsiteX2" fmla="*/ 0 w 85585"/>
                  <a:gd name="connsiteY2" fmla="*/ 42944 h 85887"/>
                  <a:gd name="connsiteX3" fmla="*/ 42793 w 85585"/>
                  <a:gd name="connsiteY3" fmla="*/ 0 h 85887"/>
                  <a:gd name="connsiteX4" fmla="*/ 85586 w 85585"/>
                  <a:gd name="connsiteY4" fmla="*/ 42944 h 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85" h="85887">
                    <a:moveTo>
                      <a:pt x="85586" y="42944"/>
                    </a:moveTo>
                    <a:cubicBezTo>
                      <a:pt x="85586" y="66661"/>
                      <a:pt x="66427" y="85887"/>
                      <a:pt x="42793" y="85887"/>
                    </a:cubicBezTo>
                    <a:cubicBezTo>
                      <a:pt x="19159" y="85887"/>
                      <a:pt x="0" y="66661"/>
                      <a:pt x="0" y="42944"/>
                    </a:cubicBezTo>
                    <a:cubicBezTo>
                      <a:pt x="0" y="19226"/>
                      <a:pt x="19159" y="0"/>
                      <a:pt x="42793" y="0"/>
                    </a:cubicBezTo>
                    <a:cubicBezTo>
                      <a:pt x="66427" y="0"/>
                      <a:pt x="85586" y="19226"/>
                      <a:pt x="85586" y="42944"/>
                    </a:cubicBezTo>
                    <a:close/>
                  </a:path>
                </a:pathLst>
              </a:custGeom>
              <a:solidFill>
                <a:srgbClr val="2D708F"/>
              </a:solidFill>
              <a:ln w="18582" cap="flat">
                <a:noFill/>
                <a:prstDash val="solid"/>
                <a:miter/>
              </a:ln>
            </p:spPr>
            <p:txBody>
              <a:bodyPr rtlCol="0" anchor="ctr"/>
              <a:lstStyle/>
              <a:p>
                <a:endParaRPr lang="en-SE"/>
              </a:p>
            </p:txBody>
          </p:sp>
          <p:sp>
            <p:nvSpPr>
              <p:cNvPr id="39" name="Freeform 38">
                <a:extLst>
                  <a:ext uri="{FF2B5EF4-FFF2-40B4-BE49-F238E27FC236}">
                    <a16:creationId xmlns:a16="http://schemas.microsoft.com/office/drawing/2014/main" id="{CFEE0BFC-FD93-164C-9AFA-3D477F2B0600}"/>
                  </a:ext>
                </a:extLst>
              </p:cNvPr>
              <p:cNvSpPr/>
              <p:nvPr/>
            </p:nvSpPr>
            <p:spPr>
              <a:xfrm>
                <a:off x="4955476" y="3933220"/>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40" name="Freeform 39">
                <a:extLst>
                  <a:ext uri="{FF2B5EF4-FFF2-40B4-BE49-F238E27FC236}">
                    <a16:creationId xmlns:a16="http://schemas.microsoft.com/office/drawing/2014/main" id="{1E3EA62B-A3E8-3644-B452-19F9E32E8C3A}"/>
                  </a:ext>
                </a:extLst>
              </p:cNvPr>
              <p:cNvSpPr/>
              <p:nvPr/>
            </p:nvSpPr>
            <p:spPr>
              <a:xfrm>
                <a:off x="4760118" y="3826795"/>
                <a:ext cx="130239" cy="130697"/>
              </a:xfrm>
              <a:custGeom>
                <a:avLst/>
                <a:gdLst>
                  <a:gd name="connsiteX0" fmla="*/ 130239 w 130239"/>
                  <a:gd name="connsiteY0" fmla="*/ 65349 h 130697"/>
                  <a:gd name="connsiteX1" fmla="*/ 65120 w 130239"/>
                  <a:gd name="connsiteY1" fmla="*/ 130698 h 130697"/>
                  <a:gd name="connsiteX2" fmla="*/ 0 w 130239"/>
                  <a:gd name="connsiteY2" fmla="*/ 65349 h 130697"/>
                  <a:gd name="connsiteX3" fmla="*/ 65120 w 130239"/>
                  <a:gd name="connsiteY3" fmla="*/ 0 h 130697"/>
                  <a:gd name="connsiteX4" fmla="*/ 130239 w 130239"/>
                  <a:gd name="connsiteY4" fmla="*/ 65349 h 130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39" h="130697">
                    <a:moveTo>
                      <a:pt x="130239" y="65349"/>
                    </a:moveTo>
                    <a:cubicBezTo>
                      <a:pt x="130239" y="101440"/>
                      <a:pt x="101084" y="130698"/>
                      <a:pt x="65120" y="130698"/>
                    </a:cubicBezTo>
                    <a:cubicBezTo>
                      <a:pt x="29155" y="130698"/>
                      <a:pt x="0" y="101440"/>
                      <a:pt x="0" y="65349"/>
                    </a:cubicBezTo>
                    <a:cubicBezTo>
                      <a:pt x="0" y="29258"/>
                      <a:pt x="29155" y="0"/>
                      <a:pt x="65120" y="0"/>
                    </a:cubicBezTo>
                    <a:cubicBezTo>
                      <a:pt x="101084" y="0"/>
                      <a:pt x="130239" y="29258"/>
                      <a:pt x="130239" y="65349"/>
                    </a:cubicBezTo>
                    <a:close/>
                  </a:path>
                </a:pathLst>
              </a:custGeom>
              <a:solidFill>
                <a:srgbClr val="2D708F"/>
              </a:solidFill>
              <a:ln w="18582" cap="flat">
                <a:noFill/>
                <a:prstDash val="solid"/>
                <a:miter/>
              </a:ln>
            </p:spPr>
            <p:txBody>
              <a:bodyPr rtlCol="0" anchor="ctr"/>
              <a:lstStyle/>
              <a:p>
                <a:endParaRPr lang="en-SE"/>
              </a:p>
            </p:txBody>
          </p:sp>
          <p:sp>
            <p:nvSpPr>
              <p:cNvPr id="41" name="Freeform 40">
                <a:extLst>
                  <a:ext uri="{FF2B5EF4-FFF2-40B4-BE49-F238E27FC236}">
                    <a16:creationId xmlns:a16="http://schemas.microsoft.com/office/drawing/2014/main" id="{7A096F68-E4E2-0344-8D70-7DF74D83B985}"/>
                  </a:ext>
                </a:extLst>
              </p:cNvPr>
              <p:cNvSpPr/>
              <p:nvPr/>
            </p:nvSpPr>
            <p:spPr>
              <a:xfrm>
                <a:off x="4784305" y="4076988"/>
                <a:ext cx="85585" cy="85887"/>
              </a:xfrm>
              <a:custGeom>
                <a:avLst/>
                <a:gdLst>
                  <a:gd name="connsiteX0" fmla="*/ 85586 w 85585"/>
                  <a:gd name="connsiteY0" fmla="*/ 42944 h 85887"/>
                  <a:gd name="connsiteX1" fmla="*/ 42793 w 85585"/>
                  <a:gd name="connsiteY1" fmla="*/ 85887 h 85887"/>
                  <a:gd name="connsiteX2" fmla="*/ 0 w 85585"/>
                  <a:gd name="connsiteY2" fmla="*/ 42944 h 85887"/>
                  <a:gd name="connsiteX3" fmla="*/ 42793 w 85585"/>
                  <a:gd name="connsiteY3" fmla="*/ 0 h 85887"/>
                  <a:gd name="connsiteX4" fmla="*/ 85586 w 85585"/>
                  <a:gd name="connsiteY4" fmla="*/ 42944 h 85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85" h="85887">
                    <a:moveTo>
                      <a:pt x="85586" y="42944"/>
                    </a:moveTo>
                    <a:cubicBezTo>
                      <a:pt x="85586" y="66661"/>
                      <a:pt x="66427" y="85887"/>
                      <a:pt x="42793" y="85887"/>
                    </a:cubicBezTo>
                    <a:cubicBezTo>
                      <a:pt x="19159" y="85887"/>
                      <a:pt x="0" y="66661"/>
                      <a:pt x="0" y="42944"/>
                    </a:cubicBezTo>
                    <a:cubicBezTo>
                      <a:pt x="0" y="19227"/>
                      <a:pt x="19159" y="0"/>
                      <a:pt x="42793" y="0"/>
                    </a:cubicBezTo>
                    <a:cubicBezTo>
                      <a:pt x="66427" y="0"/>
                      <a:pt x="85586" y="19227"/>
                      <a:pt x="85586" y="42944"/>
                    </a:cubicBezTo>
                    <a:close/>
                  </a:path>
                </a:pathLst>
              </a:custGeom>
              <a:solidFill>
                <a:srgbClr val="2D708F"/>
              </a:solidFill>
              <a:ln w="18582" cap="flat">
                <a:noFill/>
                <a:prstDash val="solid"/>
                <a:miter/>
              </a:ln>
            </p:spPr>
            <p:txBody>
              <a:bodyPr rtlCol="0" anchor="ctr"/>
              <a:lstStyle/>
              <a:p>
                <a:endParaRPr lang="en-SE"/>
              </a:p>
            </p:txBody>
          </p:sp>
        </p:grpSp>
        <p:grpSp>
          <p:nvGrpSpPr>
            <p:cNvPr id="42" name="Bild 4">
              <a:extLst>
                <a:ext uri="{FF2B5EF4-FFF2-40B4-BE49-F238E27FC236}">
                  <a16:creationId xmlns:a16="http://schemas.microsoft.com/office/drawing/2014/main" id="{92772110-BAA1-5C4D-871B-C133EDAF33E3}"/>
                </a:ext>
              </a:extLst>
            </p:cNvPr>
            <p:cNvGrpSpPr/>
            <p:nvPr/>
          </p:nvGrpSpPr>
          <p:grpSpPr>
            <a:xfrm>
              <a:off x="5882035" y="2771878"/>
              <a:ext cx="2588037" cy="1189349"/>
              <a:chOff x="5882035" y="2771878"/>
              <a:chExt cx="2588037" cy="1189349"/>
            </a:xfrm>
            <a:solidFill>
              <a:srgbClr val="000000"/>
            </a:solidFill>
          </p:grpSpPr>
          <p:sp>
            <p:nvSpPr>
              <p:cNvPr id="43" name="Freeform 42">
                <a:extLst>
                  <a:ext uri="{FF2B5EF4-FFF2-40B4-BE49-F238E27FC236}">
                    <a16:creationId xmlns:a16="http://schemas.microsoft.com/office/drawing/2014/main" id="{97177F12-A7D9-9F49-96E8-6F8558A3F5C2}"/>
                  </a:ext>
                </a:extLst>
              </p:cNvPr>
              <p:cNvSpPr/>
              <p:nvPr/>
            </p:nvSpPr>
            <p:spPr>
              <a:xfrm>
                <a:off x="5882035" y="2771878"/>
                <a:ext cx="444673" cy="470511"/>
              </a:xfrm>
              <a:custGeom>
                <a:avLst/>
                <a:gdLst>
                  <a:gd name="connsiteX0" fmla="*/ 314434 w 444673"/>
                  <a:gd name="connsiteY0" fmla="*/ 380891 h 470511"/>
                  <a:gd name="connsiteX1" fmla="*/ 128378 w 444673"/>
                  <a:gd name="connsiteY1" fmla="*/ 380891 h 470511"/>
                  <a:gd name="connsiteX2" fmla="*/ 96749 w 444673"/>
                  <a:gd name="connsiteY2" fmla="*/ 470512 h 470511"/>
                  <a:gd name="connsiteX3" fmla="*/ 0 w 444673"/>
                  <a:gd name="connsiteY3" fmla="*/ 470512 h 470511"/>
                  <a:gd name="connsiteX4" fmla="*/ 167450 w 444673"/>
                  <a:gd name="connsiteY4" fmla="*/ 0 h 470511"/>
                  <a:gd name="connsiteX5" fmla="*/ 277223 w 444673"/>
                  <a:gd name="connsiteY5" fmla="*/ 0 h 470511"/>
                  <a:gd name="connsiteX6" fmla="*/ 444673 w 444673"/>
                  <a:gd name="connsiteY6" fmla="*/ 470512 h 470511"/>
                  <a:gd name="connsiteX7" fmla="*/ 346064 w 444673"/>
                  <a:gd name="connsiteY7" fmla="*/ 470512 h 470511"/>
                  <a:gd name="connsiteX8" fmla="*/ 314434 w 444673"/>
                  <a:gd name="connsiteY8" fmla="*/ 380891 h 470511"/>
                  <a:gd name="connsiteX9" fmla="*/ 290247 w 444673"/>
                  <a:gd name="connsiteY9" fmla="*/ 304339 h 470511"/>
                  <a:gd name="connsiteX10" fmla="*/ 223267 w 444673"/>
                  <a:gd name="connsiteY10" fmla="*/ 108292 h 470511"/>
                  <a:gd name="connsiteX11" fmla="*/ 156287 w 444673"/>
                  <a:gd name="connsiteY11" fmla="*/ 304339 h 470511"/>
                  <a:gd name="connsiteX12" fmla="*/ 290247 w 444673"/>
                  <a:gd name="connsiteY12" fmla="*/ 304339 h 47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673" h="470511">
                    <a:moveTo>
                      <a:pt x="314434" y="380891"/>
                    </a:moveTo>
                    <a:lnTo>
                      <a:pt x="128378" y="380891"/>
                    </a:lnTo>
                    <a:lnTo>
                      <a:pt x="96749" y="470512"/>
                    </a:lnTo>
                    <a:lnTo>
                      <a:pt x="0" y="470512"/>
                    </a:lnTo>
                    <a:lnTo>
                      <a:pt x="167450" y="0"/>
                    </a:lnTo>
                    <a:lnTo>
                      <a:pt x="277223" y="0"/>
                    </a:lnTo>
                    <a:lnTo>
                      <a:pt x="444673" y="470512"/>
                    </a:lnTo>
                    <a:lnTo>
                      <a:pt x="346064" y="470512"/>
                    </a:lnTo>
                    <a:lnTo>
                      <a:pt x="314434" y="380891"/>
                    </a:lnTo>
                    <a:close/>
                    <a:moveTo>
                      <a:pt x="290247" y="304339"/>
                    </a:moveTo>
                    <a:lnTo>
                      <a:pt x="223267" y="108292"/>
                    </a:lnTo>
                    <a:lnTo>
                      <a:pt x="156287" y="304339"/>
                    </a:lnTo>
                    <a:lnTo>
                      <a:pt x="290247" y="304339"/>
                    </a:lnTo>
                    <a:close/>
                  </a:path>
                </a:pathLst>
              </a:custGeom>
              <a:solidFill>
                <a:srgbClr val="000000"/>
              </a:solidFill>
              <a:ln w="18582" cap="flat">
                <a:noFill/>
                <a:prstDash val="solid"/>
                <a:miter/>
              </a:ln>
            </p:spPr>
            <p:txBody>
              <a:bodyPr rtlCol="0" anchor="ctr"/>
              <a:lstStyle/>
              <a:p>
                <a:endParaRPr lang="en-SE"/>
              </a:p>
            </p:txBody>
          </p:sp>
          <p:sp>
            <p:nvSpPr>
              <p:cNvPr id="44" name="Freeform 43">
                <a:extLst>
                  <a:ext uri="{FF2B5EF4-FFF2-40B4-BE49-F238E27FC236}">
                    <a16:creationId xmlns:a16="http://schemas.microsoft.com/office/drawing/2014/main" id="{BCDCE8DB-309A-A74F-8F9F-5FC01D190175}"/>
                  </a:ext>
                </a:extLst>
              </p:cNvPr>
              <p:cNvSpPr/>
              <p:nvPr/>
            </p:nvSpPr>
            <p:spPr>
              <a:xfrm>
                <a:off x="6365780" y="2771878"/>
                <a:ext cx="342342" cy="470511"/>
              </a:xfrm>
              <a:custGeom>
                <a:avLst/>
                <a:gdLst>
                  <a:gd name="connsiteX0" fmla="*/ 342343 w 342342"/>
                  <a:gd name="connsiteY0" fmla="*/ 0 h 470511"/>
                  <a:gd name="connsiteX1" fmla="*/ 342343 w 342342"/>
                  <a:gd name="connsiteY1" fmla="*/ 76552 h 470511"/>
                  <a:gd name="connsiteX2" fmla="*/ 217685 w 342342"/>
                  <a:gd name="connsiteY2" fmla="*/ 76552 h 470511"/>
                  <a:gd name="connsiteX3" fmla="*/ 217685 w 342342"/>
                  <a:gd name="connsiteY3" fmla="*/ 470512 h 470511"/>
                  <a:gd name="connsiteX4" fmla="*/ 124657 w 342342"/>
                  <a:gd name="connsiteY4" fmla="*/ 470512 h 470511"/>
                  <a:gd name="connsiteX5" fmla="*/ 124657 w 342342"/>
                  <a:gd name="connsiteY5" fmla="*/ 76552 h 470511"/>
                  <a:gd name="connsiteX6" fmla="*/ 0 w 342342"/>
                  <a:gd name="connsiteY6" fmla="*/ 76552 h 470511"/>
                  <a:gd name="connsiteX7" fmla="*/ 0 w 342342"/>
                  <a:gd name="connsiteY7" fmla="*/ 0 h 470511"/>
                  <a:gd name="connsiteX8" fmla="*/ 342343 w 342342"/>
                  <a:gd name="connsiteY8" fmla="*/ 0 h 47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342" h="470511">
                    <a:moveTo>
                      <a:pt x="342343" y="0"/>
                    </a:moveTo>
                    <a:lnTo>
                      <a:pt x="342343" y="76552"/>
                    </a:lnTo>
                    <a:lnTo>
                      <a:pt x="217685" y="76552"/>
                    </a:lnTo>
                    <a:lnTo>
                      <a:pt x="217685" y="470512"/>
                    </a:lnTo>
                    <a:lnTo>
                      <a:pt x="124657" y="470512"/>
                    </a:lnTo>
                    <a:lnTo>
                      <a:pt x="124657" y="76552"/>
                    </a:lnTo>
                    <a:lnTo>
                      <a:pt x="0" y="76552"/>
                    </a:lnTo>
                    <a:lnTo>
                      <a:pt x="0" y="0"/>
                    </a:lnTo>
                    <a:lnTo>
                      <a:pt x="342343" y="0"/>
                    </a:lnTo>
                    <a:close/>
                  </a:path>
                </a:pathLst>
              </a:custGeom>
              <a:solidFill>
                <a:srgbClr val="000000"/>
              </a:solidFill>
              <a:ln w="18582" cap="flat">
                <a:noFill/>
                <a:prstDash val="solid"/>
                <a:miter/>
              </a:ln>
            </p:spPr>
            <p:txBody>
              <a:bodyPr rtlCol="0" anchor="ctr"/>
              <a:lstStyle/>
              <a:p>
                <a:endParaRPr lang="en-SE"/>
              </a:p>
            </p:txBody>
          </p:sp>
          <p:sp>
            <p:nvSpPr>
              <p:cNvPr id="45" name="Freeform 44">
                <a:extLst>
                  <a:ext uri="{FF2B5EF4-FFF2-40B4-BE49-F238E27FC236}">
                    <a16:creationId xmlns:a16="http://schemas.microsoft.com/office/drawing/2014/main" id="{8601EB07-37E2-8C4E-8F4B-6C6A900CA129}"/>
                  </a:ext>
                </a:extLst>
              </p:cNvPr>
              <p:cNvSpPr/>
              <p:nvPr/>
            </p:nvSpPr>
            <p:spPr>
              <a:xfrm>
                <a:off x="6778824" y="2771878"/>
                <a:ext cx="507932" cy="468644"/>
              </a:xfrm>
              <a:custGeom>
                <a:avLst/>
                <a:gdLst>
                  <a:gd name="connsiteX0" fmla="*/ 507933 w 507932"/>
                  <a:gd name="connsiteY0" fmla="*/ 0 h 468644"/>
                  <a:gd name="connsiteX1" fmla="*/ 507933 w 507932"/>
                  <a:gd name="connsiteY1" fmla="*/ 468645 h 468644"/>
                  <a:gd name="connsiteX2" fmla="*/ 414905 w 507932"/>
                  <a:gd name="connsiteY2" fmla="*/ 468645 h 468644"/>
                  <a:gd name="connsiteX3" fmla="*/ 414905 w 507932"/>
                  <a:gd name="connsiteY3" fmla="*/ 164306 h 468644"/>
                  <a:gd name="connsiteX4" fmla="*/ 290247 w 507932"/>
                  <a:gd name="connsiteY4" fmla="*/ 468645 h 468644"/>
                  <a:gd name="connsiteX5" fmla="*/ 219546 w 507932"/>
                  <a:gd name="connsiteY5" fmla="*/ 468645 h 468644"/>
                  <a:gd name="connsiteX6" fmla="*/ 93028 w 507932"/>
                  <a:gd name="connsiteY6" fmla="*/ 164306 h 468644"/>
                  <a:gd name="connsiteX7" fmla="*/ 93028 w 507932"/>
                  <a:gd name="connsiteY7" fmla="*/ 468645 h 468644"/>
                  <a:gd name="connsiteX8" fmla="*/ 0 w 507932"/>
                  <a:gd name="connsiteY8" fmla="*/ 468645 h 468644"/>
                  <a:gd name="connsiteX9" fmla="*/ 0 w 507932"/>
                  <a:gd name="connsiteY9" fmla="*/ 0 h 468644"/>
                  <a:gd name="connsiteX10" fmla="*/ 106052 w 507932"/>
                  <a:gd name="connsiteY10" fmla="*/ 0 h 468644"/>
                  <a:gd name="connsiteX11" fmla="*/ 254897 w 507932"/>
                  <a:gd name="connsiteY11" fmla="*/ 349150 h 468644"/>
                  <a:gd name="connsiteX12" fmla="*/ 403741 w 507932"/>
                  <a:gd name="connsiteY12" fmla="*/ 0 h 468644"/>
                  <a:gd name="connsiteX13" fmla="*/ 507933 w 507932"/>
                  <a:gd name="connsiteY13" fmla="*/ 0 h 46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7932" h="468644">
                    <a:moveTo>
                      <a:pt x="507933" y="0"/>
                    </a:moveTo>
                    <a:lnTo>
                      <a:pt x="507933" y="468645"/>
                    </a:lnTo>
                    <a:lnTo>
                      <a:pt x="414905" y="468645"/>
                    </a:lnTo>
                    <a:lnTo>
                      <a:pt x="414905" y="164306"/>
                    </a:lnTo>
                    <a:lnTo>
                      <a:pt x="290247" y="468645"/>
                    </a:lnTo>
                    <a:lnTo>
                      <a:pt x="219546" y="468645"/>
                    </a:lnTo>
                    <a:lnTo>
                      <a:pt x="93028" y="164306"/>
                    </a:lnTo>
                    <a:lnTo>
                      <a:pt x="93028" y="468645"/>
                    </a:lnTo>
                    <a:lnTo>
                      <a:pt x="0" y="468645"/>
                    </a:lnTo>
                    <a:lnTo>
                      <a:pt x="0" y="0"/>
                    </a:lnTo>
                    <a:lnTo>
                      <a:pt x="106052" y="0"/>
                    </a:lnTo>
                    <a:lnTo>
                      <a:pt x="254897" y="349150"/>
                    </a:lnTo>
                    <a:lnTo>
                      <a:pt x="403741" y="0"/>
                    </a:lnTo>
                    <a:lnTo>
                      <a:pt x="507933" y="0"/>
                    </a:lnTo>
                    <a:close/>
                  </a:path>
                </a:pathLst>
              </a:custGeom>
              <a:solidFill>
                <a:srgbClr val="000000"/>
              </a:solidFill>
              <a:ln w="18582" cap="flat">
                <a:noFill/>
                <a:prstDash val="solid"/>
                <a:miter/>
              </a:ln>
            </p:spPr>
            <p:txBody>
              <a:bodyPr rtlCol="0" anchor="ctr"/>
              <a:lstStyle/>
              <a:p>
                <a:endParaRPr lang="en-SE"/>
              </a:p>
            </p:txBody>
          </p:sp>
          <p:sp>
            <p:nvSpPr>
              <p:cNvPr id="46" name="Freeform 45">
                <a:extLst>
                  <a:ext uri="{FF2B5EF4-FFF2-40B4-BE49-F238E27FC236}">
                    <a16:creationId xmlns:a16="http://schemas.microsoft.com/office/drawing/2014/main" id="{E8875E87-14F2-9544-9741-4FF230AC62A8}"/>
                  </a:ext>
                </a:extLst>
              </p:cNvPr>
              <p:cNvSpPr/>
              <p:nvPr/>
            </p:nvSpPr>
            <p:spPr>
              <a:xfrm>
                <a:off x="7379785" y="2771878"/>
                <a:ext cx="342342" cy="468644"/>
              </a:xfrm>
              <a:custGeom>
                <a:avLst/>
                <a:gdLst>
                  <a:gd name="connsiteX0" fmla="*/ 321877 w 342342"/>
                  <a:gd name="connsiteY0" fmla="*/ 216585 h 468644"/>
                  <a:gd name="connsiteX1" fmla="*/ 266060 w 342342"/>
                  <a:gd name="connsiteY1" fmla="*/ 268864 h 468644"/>
                  <a:gd name="connsiteX2" fmla="*/ 171171 w 342342"/>
                  <a:gd name="connsiteY2" fmla="*/ 289402 h 468644"/>
                  <a:gd name="connsiteX3" fmla="*/ 93028 w 342342"/>
                  <a:gd name="connsiteY3" fmla="*/ 289402 h 468644"/>
                  <a:gd name="connsiteX4" fmla="*/ 93028 w 342342"/>
                  <a:gd name="connsiteY4" fmla="*/ 468645 h 468644"/>
                  <a:gd name="connsiteX5" fmla="*/ 0 w 342342"/>
                  <a:gd name="connsiteY5" fmla="*/ 468645 h 468644"/>
                  <a:gd name="connsiteX6" fmla="*/ 0 w 342342"/>
                  <a:gd name="connsiteY6" fmla="*/ 0 h 468644"/>
                  <a:gd name="connsiteX7" fmla="*/ 173032 w 342342"/>
                  <a:gd name="connsiteY7" fmla="*/ 0 h 468644"/>
                  <a:gd name="connsiteX8" fmla="*/ 266060 w 342342"/>
                  <a:gd name="connsiteY8" fmla="*/ 18671 h 468644"/>
                  <a:gd name="connsiteX9" fmla="*/ 323737 w 342342"/>
                  <a:gd name="connsiteY9" fmla="*/ 70950 h 468644"/>
                  <a:gd name="connsiteX10" fmla="*/ 342343 w 342342"/>
                  <a:gd name="connsiteY10" fmla="*/ 145635 h 468644"/>
                  <a:gd name="connsiteX11" fmla="*/ 321877 w 342342"/>
                  <a:gd name="connsiteY11" fmla="*/ 216585 h 468644"/>
                  <a:gd name="connsiteX12" fmla="*/ 225128 w 342342"/>
                  <a:gd name="connsiteY12" fmla="*/ 196047 h 468644"/>
                  <a:gd name="connsiteX13" fmla="*/ 243733 w 342342"/>
                  <a:gd name="connsiteY13" fmla="*/ 145635 h 468644"/>
                  <a:gd name="connsiteX14" fmla="*/ 167450 w 342342"/>
                  <a:gd name="connsiteY14" fmla="*/ 76552 h 468644"/>
                  <a:gd name="connsiteX15" fmla="*/ 93028 w 342342"/>
                  <a:gd name="connsiteY15" fmla="*/ 76552 h 468644"/>
                  <a:gd name="connsiteX16" fmla="*/ 93028 w 342342"/>
                  <a:gd name="connsiteY16" fmla="*/ 212851 h 468644"/>
                  <a:gd name="connsiteX17" fmla="*/ 167450 w 342342"/>
                  <a:gd name="connsiteY17" fmla="*/ 212851 h 468644"/>
                  <a:gd name="connsiteX18" fmla="*/ 225128 w 342342"/>
                  <a:gd name="connsiteY18" fmla="*/ 196047 h 46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342" h="468644">
                    <a:moveTo>
                      <a:pt x="321877" y="216585"/>
                    </a:moveTo>
                    <a:cubicBezTo>
                      <a:pt x="310713" y="238990"/>
                      <a:pt x="292108" y="255794"/>
                      <a:pt x="266060" y="268864"/>
                    </a:cubicBezTo>
                    <a:cubicBezTo>
                      <a:pt x="240012" y="281934"/>
                      <a:pt x="208383" y="289402"/>
                      <a:pt x="171171" y="289402"/>
                    </a:cubicBezTo>
                    <a:lnTo>
                      <a:pt x="93028" y="289402"/>
                    </a:lnTo>
                    <a:lnTo>
                      <a:pt x="93028" y="468645"/>
                    </a:lnTo>
                    <a:lnTo>
                      <a:pt x="0" y="468645"/>
                    </a:lnTo>
                    <a:lnTo>
                      <a:pt x="0" y="0"/>
                    </a:lnTo>
                    <a:lnTo>
                      <a:pt x="173032" y="0"/>
                    </a:lnTo>
                    <a:cubicBezTo>
                      <a:pt x="208383" y="0"/>
                      <a:pt x="240012" y="5601"/>
                      <a:pt x="266060" y="18671"/>
                    </a:cubicBezTo>
                    <a:cubicBezTo>
                      <a:pt x="292108" y="31741"/>
                      <a:pt x="310713" y="48545"/>
                      <a:pt x="323737" y="70950"/>
                    </a:cubicBezTo>
                    <a:cubicBezTo>
                      <a:pt x="336761" y="93355"/>
                      <a:pt x="342343" y="117628"/>
                      <a:pt x="342343" y="145635"/>
                    </a:cubicBezTo>
                    <a:cubicBezTo>
                      <a:pt x="340482" y="169907"/>
                      <a:pt x="333040" y="194179"/>
                      <a:pt x="321877" y="216585"/>
                    </a:cubicBezTo>
                    <a:close/>
                    <a:moveTo>
                      <a:pt x="225128" y="196047"/>
                    </a:moveTo>
                    <a:cubicBezTo>
                      <a:pt x="238152" y="184844"/>
                      <a:pt x="243733" y="168040"/>
                      <a:pt x="243733" y="145635"/>
                    </a:cubicBezTo>
                    <a:cubicBezTo>
                      <a:pt x="243733" y="100824"/>
                      <a:pt x="217685" y="76552"/>
                      <a:pt x="167450" y="76552"/>
                    </a:cubicBezTo>
                    <a:lnTo>
                      <a:pt x="93028" y="76552"/>
                    </a:lnTo>
                    <a:lnTo>
                      <a:pt x="93028" y="212851"/>
                    </a:lnTo>
                    <a:lnTo>
                      <a:pt x="167450" y="212851"/>
                    </a:lnTo>
                    <a:cubicBezTo>
                      <a:pt x="193498" y="212851"/>
                      <a:pt x="212104" y="207249"/>
                      <a:pt x="225128" y="196047"/>
                    </a:cubicBezTo>
                    <a:close/>
                  </a:path>
                </a:pathLst>
              </a:custGeom>
              <a:solidFill>
                <a:srgbClr val="000000"/>
              </a:solidFill>
              <a:ln w="18582" cap="flat">
                <a:noFill/>
                <a:prstDash val="solid"/>
                <a:miter/>
              </a:ln>
            </p:spPr>
            <p:txBody>
              <a:bodyPr rtlCol="0" anchor="ctr"/>
              <a:lstStyle/>
              <a:p>
                <a:endParaRPr lang="en-SE"/>
              </a:p>
            </p:txBody>
          </p:sp>
          <p:sp>
            <p:nvSpPr>
              <p:cNvPr id="47" name="Freeform 46">
                <a:extLst>
                  <a:ext uri="{FF2B5EF4-FFF2-40B4-BE49-F238E27FC236}">
                    <a16:creationId xmlns:a16="http://schemas.microsoft.com/office/drawing/2014/main" id="{25B525CD-E38B-C04B-87AA-739439B715F5}"/>
                  </a:ext>
                </a:extLst>
              </p:cNvPr>
              <p:cNvSpPr/>
              <p:nvPr/>
            </p:nvSpPr>
            <p:spPr>
              <a:xfrm>
                <a:off x="5900640" y="3479512"/>
                <a:ext cx="314434" cy="481714"/>
              </a:xfrm>
              <a:custGeom>
                <a:avLst/>
                <a:gdLst>
                  <a:gd name="connsiteX0" fmla="*/ 80004 w 314434"/>
                  <a:gd name="connsiteY0" fmla="*/ 459309 h 481714"/>
                  <a:gd name="connsiteX1" fmla="*/ 22327 w 314434"/>
                  <a:gd name="connsiteY1" fmla="*/ 414498 h 481714"/>
                  <a:gd name="connsiteX2" fmla="*/ 0 w 314434"/>
                  <a:gd name="connsiteY2" fmla="*/ 347283 h 481714"/>
                  <a:gd name="connsiteX3" fmla="*/ 65120 w 314434"/>
                  <a:gd name="connsiteY3" fmla="*/ 347283 h 481714"/>
                  <a:gd name="connsiteX4" fmla="*/ 93028 w 314434"/>
                  <a:gd name="connsiteY4" fmla="*/ 403296 h 481714"/>
                  <a:gd name="connsiteX5" fmla="*/ 161869 w 314434"/>
                  <a:gd name="connsiteY5" fmla="*/ 425701 h 481714"/>
                  <a:gd name="connsiteX6" fmla="*/ 230709 w 314434"/>
                  <a:gd name="connsiteY6" fmla="*/ 403296 h 481714"/>
                  <a:gd name="connsiteX7" fmla="*/ 254897 w 314434"/>
                  <a:gd name="connsiteY7" fmla="*/ 347283 h 481714"/>
                  <a:gd name="connsiteX8" fmla="*/ 240012 w 314434"/>
                  <a:gd name="connsiteY8" fmla="*/ 304339 h 481714"/>
                  <a:gd name="connsiteX9" fmla="*/ 202801 w 314434"/>
                  <a:gd name="connsiteY9" fmla="*/ 278199 h 481714"/>
                  <a:gd name="connsiteX10" fmla="*/ 143263 w 314434"/>
                  <a:gd name="connsiteY10" fmla="*/ 259528 h 481714"/>
                  <a:gd name="connsiteX11" fmla="*/ 68841 w 314434"/>
                  <a:gd name="connsiteY11" fmla="*/ 235256 h 481714"/>
                  <a:gd name="connsiteX12" fmla="*/ 20466 w 314434"/>
                  <a:gd name="connsiteY12" fmla="*/ 197914 h 481714"/>
                  <a:gd name="connsiteX13" fmla="*/ 0 w 314434"/>
                  <a:gd name="connsiteY13" fmla="*/ 128831 h 481714"/>
                  <a:gd name="connsiteX14" fmla="*/ 18606 w 314434"/>
                  <a:gd name="connsiteY14" fmla="*/ 61615 h 481714"/>
                  <a:gd name="connsiteX15" fmla="*/ 72562 w 314434"/>
                  <a:gd name="connsiteY15" fmla="*/ 16804 h 481714"/>
                  <a:gd name="connsiteX16" fmla="*/ 152566 w 314434"/>
                  <a:gd name="connsiteY16" fmla="*/ 0 h 481714"/>
                  <a:gd name="connsiteX17" fmla="*/ 260478 w 314434"/>
                  <a:gd name="connsiteY17" fmla="*/ 33608 h 481714"/>
                  <a:gd name="connsiteX18" fmla="*/ 306992 w 314434"/>
                  <a:gd name="connsiteY18" fmla="*/ 121362 h 481714"/>
                  <a:gd name="connsiteX19" fmla="*/ 240012 w 314434"/>
                  <a:gd name="connsiteY19" fmla="*/ 121362 h 481714"/>
                  <a:gd name="connsiteX20" fmla="*/ 212104 w 314434"/>
                  <a:gd name="connsiteY20" fmla="*/ 74684 h 481714"/>
                  <a:gd name="connsiteX21" fmla="*/ 146984 w 314434"/>
                  <a:gd name="connsiteY21" fmla="*/ 54146 h 481714"/>
                  <a:gd name="connsiteX22" fmla="*/ 85586 w 314434"/>
                  <a:gd name="connsiteY22" fmla="*/ 74684 h 481714"/>
                  <a:gd name="connsiteX23" fmla="*/ 61399 w 314434"/>
                  <a:gd name="connsiteY23" fmla="*/ 130698 h 481714"/>
                  <a:gd name="connsiteX24" fmla="*/ 76283 w 314434"/>
                  <a:gd name="connsiteY24" fmla="*/ 171774 h 481714"/>
                  <a:gd name="connsiteX25" fmla="*/ 111634 w 314434"/>
                  <a:gd name="connsiteY25" fmla="*/ 196047 h 481714"/>
                  <a:gd name="connsiteX26" fmla="*/ 171171 w 314434"/>
                  <a:gd name="connsiteY26" fmla="*/ 214718 h 481714"/>
                  <a:gd name="connsiteX27" fmla="*/ 245594 w 314434"/>
                  <a:gd name="connsiteY27" fmla="*/ 238990 h 481714"/>
                  <a:gd name="connsiteX28" fmla="*/ 293968 w 314434"/>
                  <a:gd name="connsiteY28" fmla="*/ 278199 h 481714"/>
                  <a:gd name="connsiteX29" fmla="*/ 314434 w 314434"/>
                  <a:gd name="connsiteY29" fmla="*/ 349150 h 481714"/>
                  <a:gd name="connsiteX30" fmla="*/ 295829 w 314434"/>
                  <a:gd name="connsiteY30" fmla="*/ 414498 h 481714"/>
                  <a:gd name="connsiteX31" fmla="*/ 241873 w 314434"/>
                  <a:gd name="connsiteY31" fmla="*/ 463043 h 481714"/>
                  <a:gd name="connsiteX32" fmla="*/ 158148 w 314434"/>
                  <a:gd name="connsiteY32" fmla="*/ 481715 h 481714"/>
                  <a:gd name="connsiteX33" fmla="*/ 80004 w 314434"/>
                  <a:gd name="connsiteY33" fmla="*/ 459309 h 48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14434" h="481714">
                    <a:moveTo>
                      <a:pt x="80004" y="459309"/>
                    </a:moveTo>
                    <a:cubicBezTo>
                      <a:pt x="55817" y="448106"/>
                      <a:pt x="37211" y="433170"/>
                      <a:pt x="22327" y="414498"/>
                    </a:cubicBezTo>
                    <a:cubicBezTo>
                      <a:pt x="9303" y="395827"/>
                      <a:pt x="1861" y="373422"/>
                      <a:pt x="0" y="347283"/>
                    </a:cubicBezTo>
                    <a:lnTo>
                      <a:pt x="65120" y="347283"/>
                    </a:lnTo>
                    <a:cubicBezTo>
                      <a:pt x="66980" y="369688"/>
                      <a:pt x="76283" y="388359"/>
                      <a:pt x="93028" y="403296"/>
                    </a:cubicBezTo>
                    <a:cubicBezTo>
                      <a:pt x="109773" y="418233"/>
                      <a:pt x="132100" y="425701"/>
                      <a:pt x="161869" y="425701"/>
                    </a:cubicBezTo>
                    <a:cubicBezTo>
                      <a:pt x="191638" y="425701"/>
                      <a:pt x="213964" y="418233"/>
                      <a:pt x="230709" y="403296"/>
                    </a:cubicBezTo>
                    <a:cubicBezTo>
                      <a:pt x="247454" y="388359"/>
                      <a:pt x="254897" y="369688"/>
                      <a:pt x="254897" y="347283"/>
                    </a:cubicBezTo>
                    <a:cubicBezTo>
                      <a:pt x="254897" y="328611"/>
                      <a:pt x="249315" y="315542"/>
                      <a:pt x="240012" y="304339"/>
                    </a:cubicBezTo>
                    <a:cubicBezTo>
                      <a:pt x="230709" y="293136"/>
                      <a:pt x="217685" y="283801"/>
                      <a:pt x="202801" y="278199"/>
                    </a:cubicBezTo>
                    <a:cubicBezTo>
                      <a:pt x="187917" y="272598"/>
                      <a:pt x="167450" y="266997"/>
                      <a:pt x="143263" y="259528"/>
                    </a:cubicBezTo>
                    <a:cubicBezTo>
                      <a:pt x="111634" y="252060"/>
                      <a:pt x="87446" y="242724"/>
                      <a:pt x="68841" y="235256"/>
                    </a:cubicBezTo>
                    <a:cubicBezTo>
                      <a:pt x="50235" y="227787"/>
                      <a:pt x="35351" y="214718"/>
                      <a:pt x="20466" y="197914"/>
                    </a:cubicBezTo>
                    <a:cubicBezTo>
                      <a:pt x="7442" y="181110"/>
                      <a:pt x="0" y="156837"/>
                      <a:pt x="0" y="128831"/>
                    </a:cubicBezTo>
                    <a:cubicBezTo>
                      <a:pt x="0" y="102691"/>
                      <a:pt x="5582" y="80286"/>
                      <a:pt x="18606" y="61615"/>
                    </a:cubicBezTo>
                    <a:cubicBezTo>
                      <a:pt x="31629" y="41076"/>
                      <a:pt x="50235" y="26140"/>
                      <a:pt x="72562" y="16804"/>
                    </a:cubicBezTo>
                    <a:cubicBezTo>
                      <a:pt x="96749" y="5601"/>
                      <a:pt x="122797" y="0"/>
                      <a:pt x="152566" y="0"/>
                    </a:cubicBezTo>
                    <a:cubicBezTo>
                      <a:pt x="197219" y="0"/>
                      <a:pt x="232570" y="11203"/>
                      <a:pt x="260478" y="33608"/>
                    </a:cubicBezTo>
                    <a:cubicBezTo>
                      <a:pt x="288387" y="56013"/>
                      <a:pt x="303271" y="84020"/>
                      <a:pt x="306992" y="121362"/>
                    </a:cubicBezTo>
                    <a:lnTo>
                      <a:pt x="240012" y="121362"/>
                    </a:lnTo>
                    <a:cubicBezTo>
                      <a:pt x="238152" y="102691"/>
                      <a:pt x="228849" y="87754"/>
                      <a:pt x="212104" y="74684"/>
                    </a:cubicBezTo>
                    <a:cubicBezTo>
                      <a:pt x="195359" y="61615"/>
                      <a:pt x="173032" y="54146"/>
                      <a:pt x="146984" y="54146"/>
                    </a:cubicBezTo>
                    <a:cubicBezTo>
                      <a:pt x="120936" y="54146"/>
                      <a:pt x="100470" y="61615"/>
                      <a:pt x="85586" y="74684"/>
                    </a:cubicBezTo>
                    <a:cubicBezTo>
                      <a:pt x="68841" y="87754"/>
                      <a:pt x="61399" y="106425"/>
                      <a:pt x="61399" y="130698"/>
                    </a:cubicBezTo>
                    <a:cubicBezTo>
                      <a:pt x="61399" y="147502"/>
                      <a:pt x="66980" y="162439"/>
                      <a:pt x="76283" y="171774"/>
                    </a:cubicBezTo>
                    <a:cubicBezTo>
                      <a:pt x="85586" y="182977"/>
                      <a:pt x="98610" y="190445"/>
                      <a:pt x="111634" y="196047"/>
                    </a:cubicBezTo>
                    <a:cubicBezTo>
                      <a:pt x="126518" y="201648"/>
                      <a:pt x="145124" y="207249"/>
                      <a:pt x="171171" y="214718"/>
                    </a:cubicBezTo>
                    <a:cubicBezTo>
                      <a:pt x="202801" y="224053"/>
                      <a:pt x="226988" y="231522"/>
                      <a:pt x="245594" y="238990"/>
                    </a:cubicBezTo>
                    <a:cubicBezTo>
                      <a:pt x="264199" y="246459"/>
                      <a:pt x="280945" y="259528"/>
                      <a:pt x="293968" y="278199"/>
                    </a:cubicBezTo>
                    <a:cubicBezTo>
                      <a:pt x="306992" y="296871"/>
                      <a:pt x="314434" y="319276"/>
                      <a:pt x="314434" y="349150"/>
                    </a:cubicBezTo>
                    <a:cubicBezTo>
                      <a:pt x="314434" y="371555"/>
                      <a:pt x="308853" y="393960"/>
                      <a:pt x="295829" y="414498"/>
                    </a:cubicBezTo>
                    <a:cubicBezTo>
                      <a:pt x="284666" y="435037"/>
                      <a:pt x="266060" y="451841"/>
                      <a:pt x="241873" y="463043"/>
                    </a:cubicBezTo>
                    <a:cubicBezTo>
                      <a:pt x="217685" y="476113"/>
                      <a:pt x="189777" y="481715"/>
                      <a:pt x="158148" y="481715"/>
                    </a:cubicBezTo>
                    <a:cubicBezTo>
                      <a:pt x="132100" y="476113"/>
                      <a:pt x="104191" y="470512"/>
                      <a:pt x="80004" y="459309"/>
                    </a:cubicBezTo>
                    <a:close/>
                  </a:path>
                </a:pathLst>
              </a:custGeom>
              <a:solidFill>
                <a:srgbClr val="000000"/>
              </a:solidFill>
              <a:ln w="18582" cap="flat">
                <a:noFill/>
                <a:prstDash val="solid"/>
                <a:miter/>
              </a:ln>
            </p:spPr>
            <p:txBody>
              <a:bodyPr rtlCol="0" anchor="ctr"/>
              <a:lstStyle/>
              <a:p>
                <a:endParaRPr lang="en-SE"/>
              </a:p>
            </p:txBody>
          </p:sp>
          <p:sp>
            <p:nvSpPr>
              <p:cNvPr id="48" name="Freeform 47">
                <a:extLst>
                  <a:ext uri="{FF2B5EF4-FFF2-40B4-BE49-F238E27FC236}">
                    <a16:creationId xmlns:a16="http://schemas.microsoft.com/office/drawing/2014/main" id="{74D7B062-3808-DF4E-A4A1-6417F97DDFB9}"/>
                  </a:ext>
                </a:extLst>
              </p:cNvPr>
              <p:cNvSpPr/>
              <p:nvPr/>
            </p:nvSpPr>
            <p:spPr>
              <a:xfrm>
                <a:off x="6261589" y="3582203"/>
                <a:ext cx="535841" cy="367820"/>
              </a:xfrm>
              <a:custGeom>
                <a:avLst/>
                <a:gdLst>
                  <a:gd name="connsiteX0" fmla="*/ 535841 w 535841"/>
                  <a:gd name="connsiteY0" fmla="*/ 0 h 367820"/>
                  <a:gd name="connsiteX1" fmla="*/ 420486 w 535841"/>
                  <a:gd name="connsiteY1" fmla="*/ 367821 h 367820"/>
                  <a:gd name="connsiteX2" fmla="*/ 357228 w 535841"/>
                  <a:gd name="connsiteY2" fmla="*/ 367821 h 367820"/>
                  <a:gd name="connsiteX3" fmla="*/ 267921 w 535841"/>
                  <a:gd name="connsiteY3" fmla="*/ 74684 h 367820"/>
                  <a:gd name="connsiteX4" fmla="*/ 178614 w 535841"/>
                  <a:gd name="connsiteY4" fmla="*/ 367821 h 367820"/>
                  <a:gd name="connsiteX5" fmla="*/ 115355 w 535841"/>
                  <a:gd name="connsiteY5" fmla="*/ 367821 h 367820"/>
                  <a:gd name="connsiteX6" fmla="*/ 0 w 535841"/>
                  <a:gd name="connsiteY6" fmla="*/ 0 h 367820"/>
                  <a:gd name="connsiteX7" fmla="*/ 61399 w 535841"/>
                  <a:gd name="connsiteY7" fmla="*/ 0 h 367820"/>
                  <a:gd name="connsiteX8" fmla="*/ 145124 w 535841"/>
                  <a:gd name="connsiteY8" fmla="*/ 309940 h 367820"/>
                  <a:gd name="connsiteX9" fmla="*/ 236291 w 535841"/>
                  <a:gd name="connsiteY9" fmla="*/ 0 h 367820"/>
                  <a:gd name="connsiteX10" fmla="*/ 297689 w 535841"/>
                  <a:gd name="connsiteY10" fmla="*/ 0 h 367820"/>
                  <a:gd name="connsiteX11" fmla="*/ 386996 w 535841"/>
                  <a:gd name="connsiteY11" fmla="*/ 309940 h 367820"/>
                  <a:gd name="connsiteX12" fmla="*/ 470721 w 535841"/>
                  <a:gd name="connsiteY12" fmla="*/ 0 h 367820"/>
                  <a:gd name="connsiteX13" fmla="*/ 535841 w 535841"/>
                  <a:gd name="connsiteY13" fmla="*/ 0 h 36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5841" h="367820">
                    <a:moveTo>
                      <a:pt x="535841" y="0"/>
                    </a:moveTo>
                    <a:lnTo>
                      <a:pt x="420486" y="367821"/>
                    </a:lnTo>
                    <a:lnTo>
                      <a:pt x="357228" y="367821"/>
                    </a:lnTo>
                    <a:lnTo>
                      <a:pt x="267921" y="74684"/>
                    </a:lnTo>
                    <a:lnTo>
                      <a:pt x="178614" y="367821"/>
                    </a:lnTo>
                    <a:lnTo>
                      <a:pt x="115355" y="367821"/>
                    </a:lnTo>
                    <a:lnTo>
                      <a:pt x="0" y="0"/>
                    </a:lnTo>
                    <a:lnTo>
                      <a:pt x="61399" y="0"/>
                    </a:lnTo>
                    <a:lnTo>
                      <a:pt x="145124" y="309940"/>
                    </a:lnTo>
                    <a:lnTo>
                      <a:pt x="236291" y="0"/>
                    </a:lnTo>
                    <a:lnTo>
                      <a:pt x="297689" y="0"/>
                    </a:lnTo>
                    <a:lnTo>
                      <a:pt x="386996" y="309940"/>
                    </a:lnTo>
                    <a:lnTo>
                      <a:pt x="470721" y="0"/>
                    </a:lnTo>
                    <a:lnTo>
                      <a:pt x="535841" y="0"/>
                    </a:lnTo>
                    <a:close/>
                  </a:path>
                </a:pathLst>
              </a:custGeom>
              <a:solidFill>
                <a:srgbClr val="000000"/>
              </a:solidFill>
              <a:ln w="18582" cap="flat">
                <a:noFill/>
                <a:prstDash val="solid"/>
                <a:miter/>
              </a:ln>
            </p:spPr>
            <p:txBody>
              <a:bodyPr rtlCol="0" anchor="ctr"/>
              <a:lstStyle/>
              <a:p>
                <a:endParaRPr lang="en-SE"/>
              </a:p>
            </p:txBody>
          </p:sp>
          <p:sp>
            <p:nvSpPr>
              <p:cNvPr id="49" name="Freeform 48">
                <a:extLst>
                  <a:ext uri="{FF2B5EF4-FFF2-40B4-BE49-F238E27FC236}">
                    <a16:creationId xmlns:a16="http://schemas.microsoft.com/office/drawing/2014/main" id="{CE0B1769-9AA2-874E-B2E3-868F56111E42}"/>
                  </a:ext>
                </a:extLst>
              </p:cNvPr>
              <p:cNvSpPr/>
              <p:nvPr/>
            </p:nvSpPr>
            <p:spPr>
              <a:xfrm>
                <a:off x="6832780" y="3576602"/>
                <a:ext cx="359552" cy="380890"/>
              </a:xfrm>
              <a:custGeom>
                <a:avLst/>
                <a:gdLst>
                  <a:gd name="connsiteX0" fmla="*/ 359088 w 359552"/>
                  <a:gd name="connsiteY0" fmla="*/ 212851 h 380890"/>
                  <a:gd name="connsiteX1" fmla="*/ 65120 w 359552"/>
                  <a:gd name="connsiteY1" fmla="*/ 212851 h 380890"/>
                  <a:gd name="connsiteX2" fmla="*/ 102331 w 359552"/>
                  <a:gd name="connsiteY2" fmla="*/ 298738 h 380890"/>
                  <a:gd name="connsiteX3" fmla="*/ 184195 w 359552"/>
                  <a:gd name="connsiteY3" fmla="*/ 328612 h 380890"/>
                  <a:gd name="connsiteX4" fmla="*/ 249315 w 359552"/>
                  <a:gd name="connsiteY4" fmla="*/ 309940 h 380890"/>
                  <a:gd name="connsiteX5" fmla="*/ 286526 w 359552"/>
                  <a:gd name="connsiteY5" fmla="*/ 261395 h 380890"/>
                  <a:gd name="connsiteX6" fmla="*/ 351646 w 359552"/>
                  <a:gd name="connsiteY6" fmla="*/ 261395 h 380890"/>
                  <a:gd name="connsiteX7" fmla="*/ 292108 w 359552"/>
                  <a:gd name="connsiteY7" fmla="*/ 347283 h 380890"/>
                  <a:gd name="connsiteX8" fmla="*/ 182335 w 359552"/>
                  <a:gd name="connsiteY8" fmla="*/ 380891 h 380890"/>
                  <a:gd name="connsiteX9" fmla="*/ 89307 w 359552"/>
                  <a:gd name="connsiteY9" fmla="*/ 356618 h 380890"/>
                  <a:gd name="connsiteX10" fmla="*/ 24187 w 359552"/>
                  <a:gd name="connsiteY10" fmla="*/ 289402 h 380890"/>
                  <a:gd name="connsiteX11" fmla="*/ 0 w 359552"/>
                  <a:gd name="connsiteY11" fmla="*/ 188578 h 380890"/>
                  <a:gd name="connsiteX12" fmla="*/ 22327 w 359552"/>
                  <a:gd name="connsiteY12" fmla="*/ 87754 h 380890"/>
                  <a:gd name="connsiteX13" fmla="*/ 85586 w 359552"/>
                  <a:gd name="connsiteY13" fmla="*/ 22405 h 380890"/>
                  <a:gd name="connsiteX14" fmla="*/ 180474 w 359552"/>
                  <a:gd name="connsiteY14" fmla="*/ 0 h 380890"/>
                  <a:gd name="connsiteX15" fmla="*/ 273502 w 359552"/>
                  <a:gd name="connsiteY15" fmla="*/ 22405 h 380890"/>
                  <a:gd name="connsiteX16" fmla="*/ 334901 w 359552"/>
                  <a:gd name="connsiteY16" fmla="*/ 85887 h 380890"/>
                  <a:gd name="connsiteX17" fmla="*/ 357227 w 359552"/>
                  <a:gd name="connsiteY17" fmla="*/ 175508 h 380890"/>
                  <a:gd name="connsiteX18" fmla="*/ 359088 w 359552"/>
                  <a:gd name="connsiteY18" fmla="*/ 212851 h 380890"/>
                  <a:gd name="connsiteX19" fmla="*/ 282805 w 359552"/>
                  <a:gd name="connsiteY19" fmla="*/ 102691 h 380890"/>
                  <a:gd name="connsiteX20" fmla="*/ 241873 w 359552"/>
                  <a:gd name="connsiteY20" fmla="*/ 63482 h 380890"/>
                  <a:gd name="connsiteX21" fmla="*/ 184195 w 359552"/>
                  <a:gd name="connsiteY21" fmla="*/ 50412 h 380890"/>
                  <a:gd name="connsiteX22" fmla="*/ 106052 w 359552"/>
                  <a:gd name="connsiteY22" fmla="*/ 80286 h 380890"/>
                  <a:gd name="connsiteX23" fmla="*/ 68841 w 359552"/>
                  <a:gd name="connsiteY23" fmla="*/ 162439 h 380890"/>
                  <a:gd name="connsiteX24" fmla="*/ 301411 w 359552"/>
                  <a:gd name="connsiteY24" fmla="*/ 162439 h 380890"/>
                  <a:gd name="connsiteX25" fmla="*/ 282805 w 359552"/>
                  <a:gd name="connsiteY25" fmla="*/ 102691 h 38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9552" h="380890">
                    <a:moveTo>
                      <a:pt x="359088" y="212851"/>
                    </a:moveTo>
                    <a:lnTo>
                      <a:pt x="65120" y="212851"/>
                    </a:lnTo>
                    <a:cubicBezTo>
                      <a:pt x="66980" y="248326"/>
                      <a:pt x="80004" y="278199"/>
                      <a:pt x="102331" y="298738"/>
                    </a:cubicBezTo>
                    <a:cubicBezTo>
                      <a:pt x="124657" y="319276"/>
                      <a:pt x="152566" y="328612"/>
                      <a:pt x="184195" y="328612"/>
                    </a:cubicBezTo>
                    <a:cubicBezTo>
                      <a:pt x="210243" y="328612"/>
                      <a:pt x="232570" y="323010"/>
                      <a:pt x="249315" y="309940"/>
                    </a:cubicBezTo>
                    <a:cubicBezTo>
                      <a:pt x="266060" y="296871"/>
                      <a:pt x="279084" y="281934"/>
                      <a:pt x="286526" y="261395"/>
                    </a:cubicBezTo>
                    <a:lnTo>
                      <a:pt x="351646" y="261395"/>
                    </a:lnTo>
                    <a:cubicBezTo>
                      <a:pt x="342343" y="296871"/>
                      <a:pt x="321876" y="324877"/>
                      <a:pt x="292108" y="347283"/>
                    </a:cubicBezTo>
                    <a:cubicBezTo>
                      <a:pt x="262339" y="369688"/>
                      <a:pt x="225127" y="380891"/>
                      <a:pt x="182335" y="380891"/>
                    </a:cubicBezTo>
                    <a:cubicBezTo>
                      <a:pt x="146984" y="380891"/>
                      <a:pt x="117215" y="373422"/>
                      <a:pt x="89307" y="356618"/>
                    </a:cubicBezTo>
                    <a:cubicBezTo>
                      <a:pt x="61398" y="341681"/>
                      <a:pt x="40932" y="319276"/>
                      <a:pt x="24187" y="289402"/>
                    </a:cubicBezTo>
                    <a:cubicBezTo>
                      <a:pt x="9303" y="261395"/>
                      <a:pt x="0" y="227788"/>
                      <a:pt x="0" y="188578"/>
                    </a:cubicBezTo>
                    <a:cubicBezTo>
                      <a:pt x="0" y="151236"/>
                      <a:pt x="7442" y="117628"/>
                      <a:pt x="22327" y="87754"/>
                    </a:cubicBezTo>
                    <a:cubicBezTo>
                      <a:pt x="37211" y="59748"/>
                      <a:pt x="59538" y="37342"/>
                      <a:pt x="85586" y="22405"/>
                    </a:cubicBezTo>
                    <a:cubicBezTo>
                      <a:pt x="113494" y="7468"/>
                      <a:pt x="145123" y="0"/>
                      <a:pt x="180474" y="0"/>
                    </a:cubicBezTo>
                    <a:cubicBezTo>
                      <a:pt x="215825" y="0"/>
                      <a:pt x="245594" y="7468"/>
                      <a:pt x="273502" y="22405"/>
                    </a:cubicBezTo>
                    <a:cubicBezTo>
                      <a:pt x="299550" y="37342"/>
                      <a:pt x="320016" y="57881"/>
                      <a:pt x="334901" y="85887"/>
                    </a:cubicBezTo>
                    <a:cubicBezTo>
                      <a:pt x="349785" y="112027"/>
                      <a:pt x="357227" y="141901"/>
                      <a:pt x="357227" y="175508"/>
                    </a:cubicBezTo>
                    <a:cubicBezTo>
                      <a:pt x="360948" y="188578"/>
                      <a:pt x="359088" y="199781"/>
                      <a:pt x="359088" y="212851"/>
                    </a:cubicBezTo>
                    <a:close/>
                    <a:moveTo>
                      <a:pt x="282805" y="102691"/>
                    </a:moveTo>
                    <a:cubicBezTo>
                      <a:pt x="271641" y="85887"/>
                      <a:pt x="258618" y="72817"/>
                      <a:pt x="241873" y="63482"/>
                    </a:cubicBezTo>
                    <a:cubicBezTo>
                      <a:pt x="225127" y="54146"/>
                      <a:pt x="204661" y="50412"/>
                      <a:pt x="184195" y="50412"/>
                    </a:cubicBezTo>
                    <a:cubicBezTo>
                      <a:pt x="152566" y="50412"/>
                      <a:pt x="126518" y="59748"/>
                      <a:pt x="106052" y="80286"/>
                    </a:cubicBezTo>
                    <a:cubicBezTo>
                      <a:pt x="83725" y="100824"/>
                      <a:pt x="72562" y="126964"/>
                      <a:pt x="68841" y="162439"/>
                    </a:cubicBezTo>
                    <a:lnTo>
                      <a:pt x="301411" y="162439"/>
                    </a:lnTo>
                    <a:cubicBezTo>
                      <a:pt x="297689" y="140033"/>
                      <a:pt x="292108" y="119495"/>
                      <a:pt x="282805" y="102691"/>
                    </a:cubicBezTo>
                    <a:close/>
                  </a:path>
                </a:pathLst>
              </a:custGeom>
              <a:solidFill>
                <a:srgbClr val="000000"/>
              </a:solidFill>
              <a:ln w="18582" cap="flat">
                <a:noFill/>
                <a:prstDash val="solid"/>
                <a:miter/>
              </a:ln>
            </p:spPr>
            <p:txBody>
              <a:bodyPr rtlCol="0" anchor="ctr"/>
              <a:lstStyle/>
              <a:p>
                <a:endParaRPr lang="en-SE"/>
              </a:p>
            </p:txBody>
          </p:sp>
          <p:sp>
            <p:nvSpPr>
              <p:cNvPr id="50" name="Freeform 49">
                <a:extLst>
                  <a:ext uri="{FF2B5EF4-FFF2-40B4-BE49-F238E27FC236}">
                    <a16:creationId xmlns:a16="http://schemas.microsoft.com/office/drawing/2014/main" id="{B42A0903-3129-E549-97B4-C0733BD08CCB}"/>
                  </a:ext>
                </a:extLst>
              </p:cNvPr>
              <p:cNvSpPr/>
              <p:nvPr/>
            </p:nvSpPr>
            <p:spPr>
              <a:xfrm>
                <a:off x="7249546" y="3453373"/>
                <a:ext cx="373972" cy="502252"/>
              </a:xfrm>
              <a:custGeom>
                <a:avLst/>
                <a:gdLst>
                  <a:gd name="connsiteX0" fmla="*/ 24187 w 373972"/>
                  <a:gd name="connsiteY0" fmla="*/ 212851 h 502252"/>
                  <a:gd name="connsiteX1" fmla="*/ 87446 w 373972"/>
                  <a:gd name="connsiteY1" fmla="*/ 147502 h 502252"/>
                  <a:gd name="connsiteX2" fmla="*/ 176753 w 373972"/>
                  <a:gd name="connsiteY2" fmla="*/ 123229 h 502252"/>
                  <a:gd name="connsiteX3" fmla="*/ 256757 w 373972"/>
                  <a:gd name="connsiteY3" fmla="*/ 143768 h 502252"/>
                  <a:gd name="connsiteX4" fmla="*/ 312574 w 373972"/>
                  <a:gd name="connsiteY4" fmla="*/ 196047 h 502252"/>
                  <a:gd name="connsiteX5" fmla="*/ 312574 w 373972"/>
                  <a:gd name="connsiteY5" fmla="*/ 0 h 502252"/>
                  <a:gd name="connsiteX6" fmla="*/ 373972 w 373972"/>
                  <a:gd name="connsiteY6" fmla="*/ 0 h 502252"/>
                  <a:gd name="connsiteX7" fmla="*/ 373972 w 373972"/>
                  <a:gd name="connsiteY7" fmla="*/ 496651 h 502252"/>
                  <a:gd name="connsiteX8" fmla="*/ 312574 w 373972"/>
                  <a:gd name="connsiteY8" fmla="*/ 496651 h 502252"/>
                  <a:gd name="connsiteX9" fmla="*/ 312574 w 373972"/>
                  <a:gd name="connsiteY9" fmla="*/ 427568 h 502252"/>
                  <a:gd name="connsiteX10" fmla="*/ 258618 w 373972"/>
                  <a:gd name="connsiteY10" fmla="*/ 481715 h 502252"/>
                  <a:gd name="connsiteX11" fmla="*/ 174892 w 373972"/>
                  <a:gd name="connsiteY11" fmla="*/ 502253 h 502252"/>
                  <a:gd name="connsiteX12" fmla="*/ 85586 w 373972"/>
                  <a:gd name="connsiteY12" fmla="*/ 477980 h 502252"/>
                  <a:gd name="connsiteX13" fmla="*/ 22327 w 373972"/>
                  <a:gd name="connsiteY13" fmla="*/ 410764 h 502252"/>
                  <a:gd name="connsiteX14" fmla="*/ 0 w 373972"/>
                  <a:gd name="connsiteY14" fmla="*/ 311808 h 502252"/>
                  <a:gd name="connsiteX15" fmla="*/ 24187 w 373972"/>
                  <a:gd name="connsiteY15" fmla="*/ 212851 h 502252"/>
                  <a:gd name="connsiteX16" fmla="*/ 295829 w 373972"/>
                  <a:gd name="connsiteY16" fmla="*/ 240857 h 502252"/>
                  <a:gd name="connsiteX17" fmla="*/ 251175 w 373972"/>
                  <a:gd name="connsiteY17" fmla="*/ 194180 h 502252"/>
                  <a:gd name="connsiteX18" fmla="*/ 187917 w 373972"/>
                  <a:gd name="connsiteY18" fmla="*/ 177375 h 502252"/>
                  <a:gd name="connsiteX19" fmla="*/ 126518 w 373972"/>
                  <a:gd name="connsiteY19" fmla="*/ 194180 h 502252"/>
                  <a:gd name="connsiteX20" fmla="*/ 81864 w 373972"/>
                  <a:gd name="connsiteY20" fmla="*/ 240857 h 502252"/>
                  <a:gd name="connsiteX21" fmla="*/ 65120 w 373972"/>
                  <a:gd name="connsiteY21" fmla="*/ 313675 h 502252"/>
                  <a:gd name="connsiteX22" fmla="*/ 81864 w 373972"/>
                  <a:gd name="connsiteY22" fmla="*/ 386492 h 502252"/>
                  <a:gd name="connsiteX23" fmla="*/ 126518 w 373972"/>
                  <a:gd name="connsiteY23" fmla="*/ 435037 h 502252"/>
                  <a:gd name="connsiteX24" fmla="*/ 187917 w 373972"/>
                  <a:gd name="connsiteY24" fmla="*/ 451841 h 502252"/>
                  <a:gd name="connsiteX25" fmla="*/ 251175 w 373972"/>
                  <a:gd name="connsiteY25" fmla="*/ 435037 h 502252"/>
                  <a:gd name="connsiteX26" fmla="*/ 295829 w 373972"/>
                  <a:gd name="connsiteY26" fmla="*/ 386492 h 502252"/>
                  <a:gd name="connsiteX27" fmla="*/ 312574 w 373972"/>
                  <a:gd name="connsiteY27" fmla="*/ 313675 h 502252"/>
                  <a:gd name="connsiteX28" fmla="*/ 295829 w 373972"/>
                  <a:gd name="connsiteY28" fmla="*/ 240857 h 50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3972" h="502252">
                    <a:moveTo>
                      <a:pt x="24187" y="212851"/>
                    </a:moveTo>
                    <a:cubicBezTo>
                      <a:pt x="39072" y="184844"/>
                      <a:pt x="59538" y="162439"/>
                      <a:pt x="87446" y="147502"/>
                    </a:cubicBezTo>
                    <a:cubicBezTo>
                      <a:pt x="113494" y="132565"/>
                      <a:pt x="143263" y="123229"/>
                      <a:pt x="176753" y="123229"/>
                    </a:cubicBezTo>
                    <a:cubicBezTo>
                      <a:pt x="204661" y="123229"/>
                      <a:pt x="232570" y="130698"/>
                      <a:pt x="256757" y="143768"/>
                    </a:cubicBezTo>
                    <a:cubicBezTo>
                      <a:pt x="280945" y="156837"/>
                      <a:pt x="299550" y="173641"/>
                      <a:pt x="312574" y="196047"/>
                    </a:cubicBezTo>
                    <a:lnTo>
                      <a:pt x="312574" y="0"/>
                    </a:lnTo>
                    <a:lnTo>
                      <a:pt x="373972" y="0"/>
                    </a:lnTo>
                    <a:lnTo>
                      <a:pt x="373972" y="496651"/>
                    </a:lnTo>
                    <a:lnTo>
                      <a:pt x="312574" y="496651"/>
                    </a:lnTo>
                    <a:lnTo>
                      <a:pt x="312574" y="427568"/>
                    </a:lnTo>
                    <a:cubicBezTo>
                      <a:pt x="301411" y="449974"/>
                      <a:pt x="282805" y="466778"/>
                      <a:pt x="258618" y="481715"/>
                    </a:cubicBezTo>
                    <a:cubicBezTo>
                      <a:pt x="234431" y="496651"/>
                      <a:pt x="206522" y="502253"/>
                      <a:pt x="174892" y="502253"/>
                    </a:cubicBezTo>
                    <a:cubicBezTo>
                      <a:pt x="141403" y="502253"/>
                      <a:pt x="113494" y="494784"/>
                      <a:pt x="85586" y="477980"/>
                    </a:cubicBezTo>
                    <a:cubicBezTo>
                      <a:pt x="59538" y="461176"/>
                      <a:pt x="39072" y="438771"/>
                      <a:pt x="22327" y="410764"/>
                    </a:cubicBezTo>
                    <a:cubicBezTo>
                      <a:pt x="7442" y="380891"/>
                      <a:pt x="0" y="349150"/>
                      <a:pt x="0" y="311808"/>
                    </a:cubicBezTo>
                    <a:cubicBezTo>
                      <a:pt x="1861" y="274465"/>
                      <a:pt x="9303" y="240857"/>
                      <a:pt x="24187" y="212851"/>
                    </a:cubicBezTo>
                    <a:close/>
                    <a:moveTo>
                      <a:pt x="295829" y="240857"/>
                    </a:moveTo>
                    <a:cubicBezTo>
                      <a:pt x="284666" y="220319"/>
                      <a:pt x="269781" y="205382"/>
                      <a:pt x="251175" y="194180"/>
                    </a:cubicBezTo>
                    <a:cubicBezTo>
                      <a:pt x="232570" y="182977"/>
                      <a:pt x="212104" y="177375"/>
                      <a:pt x="187917" y="177375"/>
                    </a:cubicBezTo>
                    <a:cubicBezTo>
                      <a:pt x="165590" y="177375"/>
                      <a:pt x="145124" y="182977"/>
                      <a:pt x="126518" y="194180"/>
                    </a:cubicBezTo>
                    <a:cubicBezTo>
                      <a:pt x="107912" y="205382"/>
                      <a:pt x="93028" y="220319"/>
                      <a:pt x="81864" y="240857"/>
                    </a:cubicBezTo>
                    <a:cubicBezTo>
                      <a:pt x="70701" y="261395"/>
                      <a:pt x="65120" y="285668"/>
                      <a:pt x="65120" y="313675"/>
                    </a:cubicBezTo>
                    <a:cubicBezTo>
                      <a:pt x="65120" y="341681"/>
                      <a:pt x="70701" y="365954"/>
                      <a:pt x="81864" y="386492"/>
                    </a:cubicBezTo>
                    <a:cubicBezTo>
                      <a:pt x="93028" y="407030"/>
                      <a:pt x="107912" y="423834"/>
                      <a:pt x="126518" y="435037"/>
                    </a:cubicBezTo>
                    <a:cubicBezTo>
                      <a:pt x="145124" y="446239"/>
                      <a:pt x="165590" y="451841"/>
                      <a:pt x="187917" y="451841"/>
                    </a:cubicBezTo>
                    <a:cubicBezTo>
                      <a:pt x="210243" y="451841"/>
                      <a:pt x="230709" y="446239"/>
                      <a:pt x="251175" y="435037"/>
                    </a:cubicBezTo>
                    <a:cubicBezTo>
                      <a:pt x="269781" y="423834"/>
                      <a:pt x="284666" y="408897"/>
                      <a:pt x="295829" y="386492"/>
                    </a:cubicBezTo>
                    <a:cubicBezTo>
                      <a:pt x="306992" y="364087"/>
                      <a:pt x="312574" y="341681"/>
                      <a:pt x="312574" y="313675"/>
                    </a:cubicBezTo>
                    <a:cubicBezTo>
                      <a:pt x="312574" y="285668"/>
                      <a:pt x="306992" y="261395"/>
                      <a:pt x="295829" y="240857"/>
                    </a:cubicBezTo>
                    <a:close/>
                  </a:path>
                </a:pathLst>
              </a:custGeom>
              <a:solidFill>
                <a:srgbClr val="000000"/>
              </a:solidFill>
              <a:ln w="18582" cap="flat">
                <a:noFill/>
                <a:prstDash val="solid"/>
                <a:miter/>
              </a:ln>
            </p:spPr>
            <p:txBody>
              <a:bodyPr rtlCol="0" anchor="ctr"/>
              <a:lstStyle/>
              <a:p>
                <a:endParaRPr lang="en-SE"/>
              </a:p>
            </p:txBody>
          </p:sp>
          <p:sp>
            <p:nvSpPr>
              <p:cNvPr id="51" name="Freeform 50">
                <a:extLst>
                  <a:ext uri="{FF2B5EF4-FFF2-40B4-BE49-F238E27FC236}">
                    <a16:creationId xmlns:a16="http://schemas.microsoft.com/office/drawing/2014/main" id="{52A8F17F-C8E3-CF46-8787-003FAE394F29}"/>
                  </a:ext>
                </a:extLst>
              </p:cNvPr>
              <p:cNvSpPr/>
              <p:nvPr/>
            </p:nvSpPr>
            <p:spPr>
              <a:xfrm>
                <a:off x="7699801" y="3576602"/>
                <a:ext cx="360310" cy="380890"/>
              </a:xfrm>
              <a:custGeom>
                <a:avLst/>
                <a:gdLst>
                  <a:gd name="connsiteX0" fmla="*/ 359088 w 360310"/>
                  <a:gd name="connsiteY0" fmla="*/ 212851 h 380890"/>
                  <a:gd name="connsiteX1" fmla="*/ 65120 w 360310"/>
                  <a:gd name="connsiteY1" fmla="*/ 212851 h 380890"/>
                  <a:gd name="connsiteX2" fmla="*/ 102331 w 360310"/>
                  <a:gd name="connsiteY2" fmla="*/ 298738 h 380890"/>
                  <a:gd name="connsiteX3" fmla="*/ 184196 w 360310"/>
                  <a:gd name="connsiteY3" fmla="*/ 328612 h 380890"/>
                  <a:gd name="connsiteX4" fmla="*/ 249315 w 360310"/>
                  <a:gd name="connsiteY4" fmla="*/ 309940 h 380890"/>
                  <a:gd name="connsiteX5" fmla="*/ 286526 w 360310"/>
                  <a:gd name="connsiteY5" fmla="*/ 261395 h 380890"/>
                  <a:gd name="connsiteX6" fmla="*/ 351646 w 360310"/>
                  <a:gd name="connsiteY6" fmla="*/ 261395 h 380890"/>
                  <a:gd name="connsiteX7" fmla="*/ 292108 w 360310"/>
                  <a:gd name="connsiteY7" fmla="*/ 347283 h 380890"/>
                  <a:gd name="connsiteX8" fmla="*/ 182335 w 360310"/>
                  <a:gd name="connsiteY8" fmla="*/ 380891 h 380890"/>
                  <a:gd name="connsiteX9" fmla="*/ 89307 w 360310"/>
                  <a:gd name="connsiteY9" fmla="*/ 356618 h 380890"/>
                  <a:gd name="connsiteX10" fmla="*/ 24187 w 360310"/>
                  <a:gd name="connsiteY10" fmla="*/ 289402 h 380890"/>
                  <a:gd name="connsiteX11" fmla="*/ 0 w 360310"/>
                  <a:gd name="connsiteY11" fmla="*/ 188578 h 380890"/>
                  <a:gd name="connsiteX12" fmla="*/ 22327 w 360310"/>
                  <a:gd name="connsiteY12" fmla="*/ 87754 h 380890"/>
                  <a:gd name="connsiteX13" fmla="*/ 85586 w 360310"/>
                  <a:gd name="connsiteY13" fmla="*/ 22405 h 380890"/>
                  <a:gd name="connsiteX14" fmla="*/ 180474 w 360310"/>
                  <a:gd name="connsiteY14" fmla="*/ 0 h 380890"/>
                  <a:gd name="connsiteX15" fmla="*/ 273502 w 360310"/>
                  <a:gd name="connsiteY15" fmla="*/ 22405 h 380890"/>
                  <a:gd name="connsiteX16" fmla="*/ 334901 w 360310"/>
                  <a:gd name="connsiteY16" fmla="*/ 85887 h 380890"/>
                  <a:gd name="connsiteX17" fmla="*/ 357227 w 360310"/>
                  <a:gd name="connsiteY17" fmla="*/ 175508 h 380890"/>
                  <a:gd name="connsiteX18" fmla="*/ 359088 w 360310"/>
                  <a:gd name="connsiteY18" fmla="*/ 212851 h 380890"/>
                  <a:gd name="connsiteX19" fmla="*/ 282805 w 360310"/>
                  <a:gd name="connsiteY19" fmla="*/ 102691 h 380890"/>
                  <a:gd name="connsiteX20" fmla="*/ 241873 w 360310"/>
                  <a:gd name="connsiteY20" fmla="*/ 63482 h 380890"/>
                  <a:gd name="connsiteX21" fmla="*/ 184196 w 360310"/>
                  <a:gd name="connsiteY21" fmla="*/ 50412 h 380890"/>
                  <a:gd name="connsiteX22" fmla="*/ 106052 w 360310"/>
                  <a:gd name="connsiteY22" fmla="*/ 80286 h 380890"/>
                  <a:gd name="connsiteX23" fmla="*/ 68841 w 360310"/>
                  <a:gd name="connsiteY23" fmla="*/ 162439 h 380890"/>
                  <a:gd name="connsiteX24" fmla="*/ 301411 w 360310"/>
                  <a:gd name="connsiteY24" fmla="*/ 162439 h 380890"/>
                  <a:gd name="connsiteX25" fmla="*/ 282805 w 360310"/>
                  <a:gd name="connsiteY25" fmla="*/ 102691 h 38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0310" h="380890">
                    <a:moveTo>
                      <a:pt x="359088" y="212851"/>
                    </a:moveTo>
                    <a:lnTo>
                      <a:pt x="65120" y="212851"/>
                    </a:lnTo>
                    <a:cubicBezTo>
                      <a:pt x="66980" y="248326"/>
                      <a:pt x="80004" y="278199"/>
                      <a:pt x="102331" y="298738"/>
                    </a:cubicBezTo>
                    <a:cubicBezTo>
                      <a:pt x="124657" y="319276"/>
                      <a:pt x="152566" y="328612"/>
                      <a:pt x="184196" y="328612"/>
                    </a:cubicBezTo>
                    <a:cubicBezTo>
                      <a:pt x="210243" y="328612"/>
                      <a:pt x="232570" y="323010"/>
                      <a:pt x="249315" y="309940"/>
                    </a:cubicBezTo>
                    <a:cubicBezTo>
                      <a:pt x="266060" y="296871"/>
                      <a:pt x="279084" y="281934"/>
                      <a:pt x="286526" y="261395"/>
                    </a:cubicBezTo>
                    <a:lnTo>
                      <a:pt x="351646" y="261395"/>
                    </a:lnTo>
                    <a:cubicBezTo>
                      <a:pt x="342343" y="296871"/>
                      <a:pt x="321877" y="324877"/>
                      <a:pt x="292108" y="347283"/>
                    </a:cubicBezTo>
                    <a:cubicBezTo>
                      <a:pt x="262339" y="369688"/>
                      <a:pt x="225128" y="380891"/>
                      <a:pt x="182335" y="380891"/>
                    </a:cubicBezTo>
                    <a:cubicBezTo>
                      <a:pt x="146984" y="380891"/>
                      <a:pt x="117215" y="373422"/>
                      <a:pt x="89307" y="356618"/>
                    </a:cubicBezTo>
                    <a:cubicBezTo>
                      <a:pt x="61399" y="341681"/>
                      <a:pt x="40932" y="319276"/>
                      <a:pt x="24187" y="289402"/>
                    </a:cubicBezTo>
                    <a:cubicBezTo>
                      <a:pt x="9303" y="261395"/>
                      <a:pt x="0" y="227788"/>
                      <a:pt x="0" y="188578"/>
                    </a:cubicBezTo>
                    <a:cubicBezTo>
                      <a:pt x="0" y="151236"/>
                      <a:pt x="7442" y="117628"/>
                      <a:pt x="22327" y="87754"/>
                    </a:cubicBezTo>
                    <a:cubicBezTo>
                      <a:pt x="37211" y="59748"/>
                      <a:pt x="59538" y="37342"/>
                      <a:pt x="85586" y="22405"/>
                    </a:cubicBezTo>
                    <a:cubicBezTo>
                      <a:pt x="113494" y="7468"/>
                      <a:pt x="145124" y="0"/>
                      <a:pt x="180474" y="0"/>
                    </a:cubicBezTo>
                    <a:cubicBezTo>
                      <a:pt x="215825" y="0"/>
                      <a:pt x="245594" y="7468"/>
                      <a:pt x="273502" y="22405"/>
                    </a:cubicBezTo>
                    <a:cubicBezTo>
                      <a:pt x="299550" y="37342"/>
                      <a:pt x="320016" y="57881"/>
                      <a:pt x="334901" y="85887"/>
                    </a:cubicBezTo>
                    <a:cubicBezTo>
                      <a:pt x="349785" y="112027"/>
                      <a:pt x="357227" y="141901"/>
                      <a:pt x="357227" y="175508"/>
                    </a:cubicBezTo>
                    <a:cubicBezTo>
                      <a:pt x="360949" y="188578"/>
                      <a:pt x="360949" y="199781"/>
                      <a:pt x="359088" y="212851"/>
                    </a:cubicBezTo>
                    <a:close/>
                    <a:moveTo>
                      <a:pt x="282805" y="102691"/>
                    </a:moveTo>
                    <a:cubicBezTo>
                      <a:pt x="271642" y="85887"/>
                      <a:pt x="258618" y="72817"/>
                      <a:pt x="241873" y="63482"/>
                    </a:cubicBezTo>
                    <a:cubicBezTo>
                      <a:pt x="225128" y="54146"/>
                      <a:pt x="204661" y="50412"/>
                      <a:pt x="184196" y="50412"/>
                    </a:cubicBezTo>
                    <a:cubicBezTo>
                      <a:pt x="152566" y="50412"/>
                      <a:pt x="126518" y="59748"/>
                      <a:pt x="106052" y="80286"/>
                    </a:cubicBezTo>
                    <a:cubicBezTo>
                      <a:pt x="83725" y="100824"/>
                      <a:pt x="72562" y="126964"/>
                      <a:pt x="68841" y="162439"/>
                    </a:cubicBezTo>
                    <a:lnTo>
                      <a:pt x="301411" y="162439"/>
                    </a:lnTo>
                    <a:cubicBezTo>
                      <a:pt x="297689" y="140033"/>
                      <a:pt x="293968" y="119495"/>
                      <a:pt x="282805" y="102691"/>
                    </a:cubicBezTo>
                    <a:close/>
                  </a:path>
                </a:pathLst>
              </a:custGeom>
              <a:solidFill>
                <a:srgbClr val="000000"/>
              </a:solidFill>
              <a:ln w="18582" cap="flat">
                <a:noFill/>
                <a:prstDash val="solid"/>
                <a:miter/>
              </a:ln>
            </p:spPr>
            <p:txBody>
              <a:bodyPr rtlCol="0" anchor="ctr"/>
              <a:lstStyle/>
              <a:p>
                <a:endParaRPr lang="en-SE"/>
              </a:p>
            </p:txBody>
          </p:sp>
          <p:sp>
            <p:nvSpPr>
              <p:cNvPr id="52" name="Freeform 51">
                <a:extLst>
                  <a:ext uri="{FF2B5EF4-FFF2-40B4-BE49-F238E27FC236}">
                    <a16:creationId xmlns:a16="http://schemas.microsoft.com/office/drawing/2014/main" id="{ECC567F8-C165-BF49-AF66-0212A808FDBA}"/>
                  </a:ext>
                </a:extLst>
              </p:cNvPr>
              <p:cNvSpPr/>
              <p:nvPr/>
            </p:nvSpPr>
            <p:spPr>
              <a:xfrm>
                <a:off x="8142614" y="3576602"/>
                <a:ext cx="327458" cy="373422"/>
              </a:xfrm>
              <a:custGeom>
                <a:avLst/>
                <a:gdLst>
                  <a:gd name="connsiteX0" fmla="*/ 286526 w 327458"/>
                  <a:gd name="connsiteY0" fmla="*/ 39209 h 373422"/>
                  <a:gd name="connsiteX1" fmla="*/ 327459 w 327458"/>
                  <a:gd name="connsiteY1" fmla="*/ 156837 h 373422"/>
                  <a:gd name="connsiteX2" fmla="*/ 327459 w 327458"/>
                  <a:gd name="connsiteY2" fmla="*/ 373422 h 373422"/>
                  <a:gd name="connsiteX3" fmla="*/ 267920 w 327458"/>
                  <a:gd name="connsiteY3" fmla="*/ 373422 h 373422"/>
                  <a:gd name="connsiteX4" fmla="*/ 267920 w 327458"/>
                  <a:gd name="connsiteY4" fmla="*/ 166173 h 373422"/>
                  <a:gd name="connsiteX5" fmla="*/ 240012 w 327458"/>
                  <a:gd name="connsiteY5" fmla="*/ 82153 h 373422"/>
                  <a:gd name="connsiteX6" fmla="*/ 165590 w 327458"/>
                  <a:gd name="connsiteY6" fmla="*/ 52279 h 373422"/>
                  <a:gd name="connsiteX7" fmla="*/ 89307 w 327458"/>
                  <a:gd name="connsiteY7" fmla="*/ 82153 h 373422"/>
                  <a:gd name="connsiteX8" fmla="*/ 61399 w 327458"/>
                  <a:gd name="connsiteY8" fmla="*/ 169907 h 373422"/>
                  <a:gd name="connsiteX9" fmla="*/ 61399 w 327458"/>
                  <a:gd name="connsiteY9" fmla="*/ 373422 h 373422"/>
                  <a:gd name="connsiteX10" fmla="*/ 0 w 327458"/>
                  <a:gd name="connsiteY10" fmla="*/ 373422 h 373422"/>
                  <a:gd name="connsiteX11" fmla="*/ 0 w 327458"/>
                  <a:gd name="connsiteY11" fmla="*/ 5601 h 373422"/>
                  <a:gd name="connsiteX12" fmla="*/ 61399 w 327458"/>
                  <a:gd name="connsiteY12" fmla="*/ 5601 h 373422"/>
                  <a:gd name="connsiteX13" fmla="*/ 61399 w 327458"/>
                  <a:gd name="connsiteY13" fmla="*/ 57881 h 373422"/>
                  <a:gd name="connsiteX14" fmla="*/ 109773 w 327458"/>
                  <a:gd name="connsiteY14" fmla="*/ 14937 h 373422"/>
                  <a:gd name="connsiteX15" fmla="*/ 178614 w 327458"/>
                  <a:gd name="connsiteY15" fmla="*/ 0 h 373422"/>
                  <a:gd name="connsiteX16" fmla="*/ 286526 w 327458"/>
                  <a:gd name="connsiteY16" fmla="*/ 39209 h 373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7458" h="373422">
                    <a:moveTo>
                      <a:pt x="286526" y="39209"/>
                    </a:moveTo>
                    <a:cubicBezTo>
                      <a:pt x="314434" y="67216"/>
                      <a:pt x="327459" y="104558"/>
                      <a:pt x="327459" y="156837"/>
                    </a:cubicBezTo>
                    <a:lnTo>
                      <a:pt x="327459" y="373422"/>
                    </a:lnTo>
                    <a:lnTo>
                      <a:pt x="267920" y="373422"/>
                    </a:lnTo>
                    <a:lnTo>
                      <a:pt x="267920" y="166173"/>
                    </a:lnTo>
                    <a:cubicBezTo>
                      <a:pt x="267920" y="128831"/>
                      <a:pt x="258618" y="100824"/>
                      <a:pt x="240012" y="82153"/>
                    </a:cubicBezTo>
                    <a:cubicBezTo>
                      <a:pt x="221406" y="63482"/>
                      <a:pt x="197219" y="52279"/>
                      <a:pt x="165590" y="52279"/>
                    </a:cubicBezTo>
                    <a:cubicBezTo>
                      <a:pt x="133960" y="52279"/>
                      <a:pt x="107912" y="61615"/>
                      <a:pt x="89307" y="82153"/>
                    </a:cubicBezTo>
                    <a:cubicBezTo>
                      <a:pt x="70701" y="102691"/>
                      <a:pt x="61399" y="132565"/>
                      <a:pt x="61399" y="169907"/>
                    </a:cubicBezTo>
                    <a:lnTo>
                      <a:pt x="61399" y="373422"/>
                    </a:lnTo>
                    <a:lnTo>
                      <a:pt x="0" y="373422"/>
                    </a:lnTo>
                    <a:lnTo>
                      <a:pt x="0" y="5601"/>
                    </a:lnTo>
                    <a:lnTo>
                      <a:pt x="61399" y="5601"/>
                    </a:lnTo>
                    <a:lnTo>
                      <a:pt x="61399" y="57881"/>
                    </a:lnTo>
                    <a:cubicBezTo>
                      <a:pt x="72562" y="39209"/>
                      <a:pt x="89307" y="24272"/>
                      <a:pt x="109773" y="14937"/>
                    </a:cubicBezTo>
                    <a:cubicBezTo>
                      <a:pt x="130239" y="3734"/>
                      <a:pt x="152566" y="0"/>
                      <a:pt x="178614" y="0"/>
                    </a:cubicBezTo>
                    <a:cubicBezTo>
                      <a:pt x="223267" y="0"/>
                      <a:pt x="258618" y="13070"/>
                      <a:pt x="286526" y="39209"/>
                    </a:cubicBezTo>
                    <a:close/>
                  </a:path>
                </a:pathLst>
              </a:custGeom>
              <a:solidFill>
                <a:srgbClr val="000000"/>
              </a:solidFill>
              <a:ln w="18582" cap="flat">
                <a:noFill/>
                <a:prstDash val="solid"/>
                <a:miter/>
              </a:ln>
            </p:spPr>
            <p:txBody>
              <a:bodyPr rtlCol="0" anchor="ctr"/>
              <a:lstStyle/>
              <a:p>
                <a:endParaRPr lang="en-SE"/>
              </a:p>
            </p:txBody>
          </p:sp>
        </p:grpSp>
      </p:grpSp>
    </p:spTree>
    <p:extLst>
      <p:ext uri="{BB962C8B-B14F-4D97-AF65-F5344CB8AC3E}">
        <p14:creationId xmlns:p14="http://schemas.microsoft.com/office/powerpoint/2010/main" val="3195364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6" name="Rektangel 2">
            <a:extLst>
              <a:ext uri="{FF2B5EF4-FFF2-40B4-BE49-F238E27FC236}">
                <a16:creationId xmlns:a16="http://schemas.microsoft.com/office/drawing/2014/main" id="{2C14A0D1-A816-CB49-818C-7766B1AA216B}"/>
              </a:ext>
            </a:extLst>
          </p:cNvPr>
          <p:cNvSpPr/>
          <p:nvPr/>
        </p:nvSpPr>
        <p:spPr>
          <a:xfrm>
            <a:off x="2503273" y="1776151"/>
            <a:ext cx="7185454" cy="33056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textruta 3">
            <a:extLst>
              <a:ext uri="{FF2B5EF4-FFF2-40B4-BE49-F238E27FC236}">
                <a16:creationId xmlns:a16="http://schemas.microsoft.com/office/drawing/2014/main" id="{C0593840-1818-CE4A-9CAE-545E14B3EF87}"/>
              </a:ext>
            </a:extLst>
          </p:cNvPr>
          <p:cNvSpPr txBox="1"/>
          <p:nvPr/>
        </p:nvSpPr>
        <p:spPr>
          <a:xfrm>
            <a:off x="2005913" y="1593263"/>
            <a:ext cx="994719" cy="3170099"/>
          </a:xfrm>
          <a:prstGeom prst="rect">
            <a:avLst/>
          </a:prstGeom>
          <a:noFill/>
        </p:spPr>
        <p:txBody>
          <a:bodyPr wrap="square" rtlCol="0">
            <a:spAutoFit/>
          </a:bodyPr>
          <a:lstStyle/>
          <a:p>
            <a:r>
              <a:rPr lang="sv-SE" sz="20000">
                <a:latin typeface="Helvetica" pitchFamily="2" charset="0"/>
                <a:ea typeface="Roboto" panose="02000000000000000000" pitchFamily="2" charset="0"/>
                <a:cs typeface="Aldhabi" pitchFamily="2" charset="-78"/>
              </a:rPr>
              <a:t>”</a:t>
            </a:r>
          </a:p>
        </p:txBody>
      </p:sp>
      <p:sp>
        <p:nvSpPr>
          <p:cNvPr id="8" name="textruta 4">
            <a:extLst>
              <a:ext uri="{FF2B5EF4-FFF2-40B4-BE49-F238E27FC236}">
                <a16:creationId xmlns:a16="http://schemas.microsoft.com/office/drawing/2014/main" id="{35FED29C-EC08-7746-BD6E-B74BAC4AAC66}"/>
              </a:ext>
            </a:extLst>
          </p:cNvPr>
          <p:cNvSpPr txBox="1"/>
          <p:nvPr/>
        </p:nvSpPr>
        <p:spPr>
          <a:xfrm>
            <a:off x="3519616" y="2551836"/>
            <a:ext cx="5152768" cy="1754326"/>
          </a:xfrm>
          <a:prstGeom prst="rect">
            <a:avLst/>
          </a:prstGeom>
          <a:noFill/>
        </p:spPr>
        <p:txBody>
          <a:bodyPr wrap="square" rtlCol="0">
            <a:spAutoFit/>
          </a:bodyPr>
          <a:lstStyle/>
          <a:p>
            <a:r>
              <a:rPr lang="sv-SE" sz="3600">
                <a:latin typeface="Roboto" panose="02000000000000000000" pitchFamily="2" charset="0"/>
                <a:ea typeface="Roboto" panose="02000000000000000000" pitchFamily="2" charset="0"/>
              </a:rPr>
              <a:t>Här kan en </a:t>
            </a:r>
            <a:r>
              <a:rPr lang="sv-SE" sz="3600" b="1" err="1">
                <a:latin typeface="Roboto" panose="02000000000000000000" pitchFamily="2" charset="0"/>
                <a:ea typeface="Roboto" panose="02000000000000000000" pitchFamily="2" charset="0"/>
              </a:rPr>
              <a:t>quote</a:t>
            </a:r>
            <a:r>
              <a:rPr lang="sv-SE" sz="3600">
                <a:latin typeface="Roboto" panose="02000000000000000000" pitchFamily="2" charset="0"/>
                <a:ea typeface="Roboto" panose="02000000000000000000" pitchFamily="2" charset="0"/>
              </a:rPr>
              <a:t> ligga. Något som ska stå ut lite extra kanske.</a:t>
            </a:r>
          </a:p>
        </p:txBody>
      </p:sp>
      <p:sp>
        <p:nvSpPr>
          <p:cNvPr id="5" name="Rektangel 2">
            <a:extLst>
              <a:ext uri="{FF2B5EF4-FFF2-40B4-BE49-F238E27FC236}">
                <a16:creationId xmlns:a16="http://schemas.microsoft.com/office/drawing/2014/main" id="{630618ED-742B-5A49-A6DA-74FBCDC09236}"/>
              </a:ext>
            </a:extLst>
          </p:cNvPr>
          <p:cNvSpPr/>
          <p:nvPr/>
        </p:nvSpPr>
        <p:spPr>
          <a:xfrm>
            <a:off x="2503273" y="1776151"/>
            <a:ext cx="7185454" cy="33056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textruta 3">
            <a:extLst>
              <a:ext uri="{FF2B5EF4-FFF2-40B4-BE49-F238E27FC236}">
                <a16:creationId xmlns:a16="http://schemas.microsoft.com/office/drawing/2014/main" id="{41E25A70-3E2B-D340-B04E-19038E62C2CE}"/>
              </a:ext>
            </a:extLst>
          </p:cNvPr>
          <p:cNvSpPr txBox="1"/>
          <p:nvPr/>
        </p:nvSpPr>
        <p:spPr>
          <a:xfrm>
            <a:off x="2005913" y="1593263"/>
            <a:ext cx="994719" cy="3170099"/>
          </a:xfrm>
          <a:prstGeom prst="rect">
            <a:avLst/>
          </a:prstGeom>
          <a:noFill/>
        </p:spPr>
        <p:txBody>
          <a:bodyPr wrap="square" rtlCol="0">
            <a:spAutoFit/>
          </a:bodyPr>
          <a:lstStyle/>
          <a:p>
            <a:r>
              <a:rPr lang="sv-SE" sz="20000">
                <a:latin typeface="Helvetica" pitchFamily="2" charset="0"/>
                <a:ea typeface="Roboto" panose="02000000000000000000" pitchFamily="2" charset="0"/>
                <a:cs typeface="Aldhabi" pitchFamily="2" charset="-78"/>
              </a:rPr>
              <a:t>”</a:t>
            </a:r>
          </a:p>
        </p:txBody>
      </p:sp>
      <p:sp>
        <p:nvSpPr>
          <p:cNvPr id="3" name="Content Placeholder 2">
            <a:extLst>
              <a:ext uri="{FF2B5EF4-FFF2-40B4-BE49-F238E27FC236}">
                <a16:creationId xmlns:a16="http://schemas.microsoft.com/office/drawing/2014/main" id="{0E5A4E26-36E5-D145-A4E8-85CDCB2B0A6F}"/>
              </a:ext>
            </a:extLst>
          </p:cNvPr>
          <p:cNvSpPr>
            <a:spLocks noGrp="1"/>
          </p:cNvSpPr>
          <p:nvPr>
            <p:ph sz="quarter" idx="10"/>
          </p:nvPr>
        </p:nvSpPr>
        <p:spPr>
          <a:xfrm>
            <a:off x="3181350" y="2219325"/>
            <a:ext cx="5829300" cy="2428875"/>
          </a:xfrm>
        </p:spPr>
        <p:txBody>
          <a:bodyPr>
            <a:noAutofit/>
          </a:bodyPr>
          <a:lstStyle>
            <a:lvl1pPr>
              <a:defRPr sz="4400" b="1" i="0" baseline="0">
                <a:latin typeface="Roboto" panose="02000000000000000000" pitchFamily="2" charset="0"/>
              </a:defRPr>
            </a:lvl1pPr>
            <a:lvl2pPr>
              <a:defRPr sz="4400" b="1" i="0" baseline="0">
                <a:latin typeface="Roboto" panose="02000000000000000000" pitchFamily="2" charset="0"/>
              </a:defRPr>
            </a:lvl2pPr>
            <a:lvl3pPr>
              <a:defRPr sz="4400" b="1" i="0" baseline="0">
                <a:latin typeface="Roboto" panose="02000000000000000000" pitchFamily="2" charset="0"/>
              </a:defRPr>
            </a:lvl3pPr>
            <a:lvl4pPr>
              <a:defRPr sz="4400" b="1" i="0" baseline="0">
                <a:latin typeface="Roboto" panose="02000000000000000000" pitchFamily="2" charset="0"/>
              </a:defRPr>
            </a:lvl4pPr>
            <a:lvl5pPr>
              <a:defRPr sz="4400" b="1" i="0" baseline="0">
                <a:latin typeface="Roboto" panose="02000000000000000000" pitchFamily="2" charset="0"/>
              </a:defRPr>
            </a:lvl5pPr>
          </a:lstStyle>
          <a:p>
            <a:pPr lvl="0"/>
            <a:r>
              <a:rPr lang="en-GB"/>
              <a:t>Click to edit Master text styles</a:t>
            </a:r>
          </a:p>
        </p:txBody>
      </p:sp>
      <p:pic>
        <p:nvPicPr>
          <p:cNvPr id="11" name="Bild 4">
            <a:extLst>
              <a:ext uri="{FF2B5EF4-FFF2-40B4-BE49-F238E27FC236}">
                <a16:creationId xmlns:a16="http://schemas.microsoft.com/office/drawing/2014/main" id="{C5B3A887-7D5C-C546-97CD-F1131606AF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03568" y="6154818"/>
            <a:ext cx="1706359" cy="696963"/>
          </a:xfrm>
          <a:prstGeom prst="rect">
            <a:avLst/>
          </a:prstGeom>
        </p:spPr>
      </p:pic>
    </p:spTree>
    <p:extLst>
      <p:ext uri="{BB962C8B-B14F-4D97-AF65-F5344CB8AC3E}">
        <p14:creationId xmlns:p14="http://schemas.microsoft.com/office/powerpoint/2010/main" val="2479248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ack">
    <p:spTree>
      <p:nvGrpSpPr>
        <p:cNvPr id="1" name=""/>
        <p:cNvGrpSpPr/>
        <p:nvPr/>
      </p:nvGrpSpPr>
      <p:grpSpPr>
        <a:xfrm>
          <a:off x="0" y="0"/>
          <a:ext cx="0" cy="0"/>
          <a:chOff x="0" y="0"/>
          <a:chExt cx="0" cy="0"/>
        </a:xfrm>
      </p:grpSpPr>
      <p:cxnSp>
        <p:nvCxnSpPr>
          <p:cNvPr id="7" name="Rak 4">
            <a:extLst>
              <a:ext uri="{FF2B5EF4-FFF2-40B4-BE49-F238E27FC236}">
                <a16:creationId xmlns:a16="http://schemas.microsoft.com/office/drawing/2014/main" id="{47D46010-A887-7648-92EB-9911C75ECED5}"/>
              </a:ext>
            </a:extLst>
          </p:cNvPr>
          <p:cNvCxnSpPr/>
          <p:nvPr/>
        </p:nvCxnSpPr>
        <p:spPr>
          <a:xfrm flipH="1">
            <a:off x="5515232" y="3744098"/>
            <a:ext cx="1186249"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4" name="Rubrik 3">
            <a:extLst>
              <a:ext uri="{FF2B5EF4-FFF2-40B4-BE49-F238E27FC236}">
                <a16:creationId xmlns:a16="http://schemas.microsoft.com/office/drawing/2014/main" id="{F3376F90-0E13-FF47-BF4B-B73E7BC810D9}"/>
              </a:ext>
            </a:extLst>
          </p:cNvPr>
          <p:cNvSpPr txBox="1">
            <a:spLocks/>
          </p:cNvSpPr>
          <p:nvPr/>
        </p:nvSpPr>
        <p:spPr>
          <a:xfrm>
            <a:off x="838200" y="234779"/>
            <a:ext cx="10515600" cy="62030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sv-SE" sz="5400">
              <a:solidFill>
                <a:schemeClr val="tx1"/>
              </a:solidFill>
              <a:latin typeface="Roboto" panose="02000000000000000000" pitchFamily="2" charset="0"/>
              <a:ea typeface="Roboto" panose="02000000000000000000" pitchFamily="2" charset="0"/>
            </a:endParaRPr>
          </a:p>
        </p:txBody>
      </p:sp>
      <p:cxnSp>
        <p:nvCxnSpPr>
          <p:cNvPr id="5" name="Rak 4">
            <a:extLst>
              <a:ext uri="{FF2B5EF4-FFF2-40B4-BE49-F238E27FC236}">
                <a16:creationId xmlns:a16="http://schemas.microsoft.com/office/drawing/2014/main" id="{E55F0A41-509B-494E-A5BA-E74FF7B4D94B}"/>
              </a:ext>
            </a:extLst>
          </p:cNvPr>
          <p:cNvCxnSpPr/>
          <p:nvPr/>
        </p:nvCxnSpPr>
        <p:spPr>
          <a:xfrm flipH="1">
            <a:off x="5515232" y="3744098"/>
            <a:ext cx="1186249"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245107B4-29C9-844A-A601-C5883F4FC549}"/>
              </a:ext>
            </a:extLst>
          </p:cNvPr>
          <p:cNvSpPr>
            <a:spLocks noGrp="1"/>
          </p:cNvSpPr>
          <p:nvPr>
            <p:ph sz="quarter" idx="10"/>
          </p:nvPr>
        </p:nvSpPr>
        <p:spPr>
          <a:xfrm>
            <a:off x="3886200" y="2619375"/>
            <a:ext cx="4467225" cy="10477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pic>
        <p:nvPicPr>
          <p:cNvPr id="11" name="Bild 4">
            <a:extLst>
              <a:ext uri="{FF2B5EF4-FFF2-40B4-BE49-F238E27FC236}">
                <a16:creationId xmlns:a16="http://schemas.microsoft.com/office/drawing/2014/main" id="{46F63D95-8634-3942-B705-3439292E0E4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03568" y="6154818"/>
            <a:ext cx="1706359" cy="696963"/>
          </a:xfrm>
          <a:prstGeom prst="rect">
            <a:avLst/>
          </a:prstGeom>
        </p:spPr>
      </p:pic>
    </p:spTree>
    <p:extLst>
      <p:ext uri="{BB962C8B-B14F-4D97-AF65-F5344CB8AC3E}">
        <p14:creationId xmlns:p14="http://schemas.microsoft.com/office/powerpoint/2010/main" val="25980567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004980-8006-6D41-B219-0FE285B9FD30}"/>
              </a:ext>
            </a:extLst>
          </p:cNvPr>
          <p:cNvSpPr>
            <a:spLocks noGrp="1"/>
          </p:cNvSpPr>
          <p:nvPr>
            <p:ph type="title"/>
          </p:nvPr>
        </p:nvSpPr>
        <p:spPr/>
        <p:txBody>
          <a:bodyPr>
            <a:normAutofit/>
          </a:bodyPr>
          <a:lstStyle>
            <a:lvl1pPr>
              <a:defRPr sz="4000" baseline="0"/>
            </a:lvl1pPr>
          </a:lstStyle>
          <a:p>
            <a:r>
              <a:rPr lang="en-GB"/>
              <a:t>Click to edit Master title style</a:t>
            </a:r>
            <a:endParaRPr lang="en-SE"/>
          </a:p>
        </p:txBody>
      </p:sp>
      <p:sp>
        <p:nvSpPr>
          <p:cNvPr id="12" name="Content Placeholder 11">
            <a:extLst>
              <a:ext uri="{FF2B5EF4-FFF2-40B4-BE49-F238E27FC236}">
                <a16:creationId xmlns:a16="http://schemas.microsoft.com/office/drawing/2014/main" id="{811372AF-0CB9-4B46-B3DB-8BA2A06BB178}"/>
              </a:ext>
            </a:extLst>
          </p:cNvPr>
          <p:cNvSpPr>
            <a:spLocks noGrp="1"/>
          </p:cNvSpPr>
          <p:nvPr>
            <p:ph sz="quarter" idx="10"/>
          </p:nvPr>
        </p:nvSpPr>
        <p:spPr>
          <a:xfrm>
            <a:off x="838200" y="2066925"/>
            <a:ext cx="10515600" cy="41052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pic>
        <p:nvPicPr>
          <p:cNvPr id="5" name="Bild 4">
            <a:extLst>
              <a:ext uri="{FF2B5EF4-FFF2-40B4-BE49-F238E27FC236}">
                <a16:creationId xmlns:a16="http://schemas.microsoft.com/office/drawing/2014/main" id="{52C83BCE-B308-5748-BDB1-56DF255791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03568" y="6154818"/>
            <a:ext cx="1706359" cy="696963"/>
          </a:xfrm>
          <a:prstGeom prst="rect">
            <a:avLst/>
          </a:prstGeom>
        </p:spPr>
      </p:pic>
      <p:sp>
        <p:nvSpPr>
          <p:cNvPr id="6" name="Slide Number Placeholder 5">
            <a:extLst>
              <a:ext uri="{FF2B5EF4-FFF2-40B4-BE49-F238E27FC236}">
                <a16:creationId xmlns:a16="http://schemas.microsoft.com/office/drawing/2014/main" id="{20B8598C-5CB3-0742-BA60-BB218B6FF037}"/>
              </a:ext>
            </a:extLst>
          </p:cNvPr>
          <p:cNvSpPr>
            <a:spLocks noGrp="1"/>
          </p:cNvSpPr>
          <p:nvPr>
            <p:ph type="sldNum" sz="quarter" idx="13"/>
          </p:nvPr>
        </p:nvSpPr>
        <p:spPr>
          <a:xfrm>
            <a:off x="826155" y="6356350"/>
            <a:ext cx="2743200" cy="365125"/>
          </a:xfrm>
        </p:spPr>
        <p:txBody>
          <a:bodyPr/>
          <a:lstStyle>
            <a:lvl1pPr algn="l">
              <a:defRPr/>
            </a:lvl1pPr>
          </a:lstStyle>
          <a:p>
            <a:fld id="{205F8CC0-987B-445B-BE72-B2F92B1EF532}" type="slidenum">
              <a:rPr lang="sv-SE" smtClean="0"/>
              <a:pPr/>
              <a:t>‹#›</a:t>
            </a:fld>
            <a:endParaRPr lang="sv-SE"/>
          </a:p>
        </p:txBody>
      </p:sp>
      <p:cxnSp>
        <p:nvCxnSpPr>
          <p:cNvPr id="7" name="Rak 12">
            <a:extLst>
              <a:ext uri="{FF2B5EF4-FFF2-40B4-BE49-F238E27FC236}">
                <a16:creationId xmlns:a16="http://schemas.microsoft.com/office/drawing/2014/main" id="{B091CDDF-F8D8-F845-AF34-5E50118C9A69}"/>
              </a:ext>
            </a:extLst>
          </p:cNvPr>
          <p:cNvCxnSpPr>
            <a:cxnSpLocks/>
          </p:cNvCxnSpPr>
          <p:nvPr userDrawn="1"/>
        </p:nvCxnSpPr>
        <p:spPr>
          <a:xfrm flipH="1">
            <a:off x="939114" y="1696102"/>
            <a:ext cx="1754659"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38086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ED23-5D18-2342-BF25-AAFEDF10D7B7}"/>
              </a:ext>
            </a:extLst>
          </p:cNvPr>
          <p:cNvSpPr>
            <a:spLocks noGrp="1"/>
          </p:cNvSpPr>
          <p:nvPr>
            <p:ph type="title"/>
          </p:nvPr>
        </p:nvSpPr>
        <p:spPr/>
        <p:txBody>
          <a:bodyPr/>
          <a:lstStyle/>
          <a:p>
            <a:r>
              <a:rPr lang="en-GB"/>
              <a:t>Click to edit Master title style</a:t>
            </a:r>
            <a:endParaRPr lang="en-SE"/>
          </a:p>
        </p:txBody>
      </p:sp>
      <p:sp>
        <p:nvSpPr>
          <p:cNvPr id="3" name="Date Placeholder 2">
            <a:extLst>
              <a:ext uri="{FF2B5EF4-FFF2-40B4-BE49-F238E27FC236}">
                <a16:creationId xmlns:a16="http://schemas.microsoft.com/office/drawing/2014/main" id="{7638E774-8E53-C84F-88E8-06F385CFE6C1}"/>
              </a:ext>
            </a:extLst>
          </p:cNvPr>
          <p:cNvSpPr>
            <a:spLocks noGrp="1"/>
          </p:cNvSpPr>
          <p:nvPr>
            <p:ph type="dt" sz="half" idx="10"/>
          </p:nvPr>
        </p:nvSpPr>
        <p:spPr/>
        <p:txBody>
          <a:bodyPr/>
          <a:lstStyle/>
          <a:p>
            <a:fld id="{668F3EB6-098A-420D-9AA7-BFDE6805CDA9}" type="datetimeFigureOut">
              <a:rPr lang="sv-SE" smtClean="0"/>
              <a:t>2022-05-31</a:t>
            </a:fld>
            <a:endParaRPr lang="sv-SE"/>
          </a:p>
        </p:txBody>
      </p:sp>
      <p:sp>
        <p:nvSpPr>
          <p:cNvPr id="4" name="Footer Placeholder 3">
            <a:extLst>
              <a:ext uri="{FF2B5EF4-FFF2-40B4-BE49-F238E27FC236}">
                <a16:creationId xmlns:a16="http://schemas.microsoft.com/office/drawing/2014/main" id="{F85F7F12-427E-A248-A7F3-CA5813526B3A}"/>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6A9CE5A1-5E86-D343-8EFC-9B783AC39B14}"/>
              </a:ext>
            </a:extLst>
          </p:cNvPr>
          <p:cNvSpPr>
            <a:spLocks noGrp="1"/>
          </p:cNvSpPr>
          <p:nvPr>
            <p:ph type="sldNum" sz="quarter" idx="12"/>
          </p:nvPr>
        </p:nvSpPr>
        <p:spPr/>
        <p:txBody>
          <a:bodyPr/>
          <a:lstStyle/>
          <a:p>
            <a:fld id="{205F8CC0-987B-445B-BE72-B2F92B1EF532}" type="slidenum">
              <a:rPr lang="sv-SE" smtClean="0"/>
              <a:t>‹#›</a:t>
            </a:fld>
            <a:endParaRPr lang="sv-SE"/>
          </a:p>
        </p:txBody>
      </p:sp>
    </p:spTree>
    <p:extLst>
      <p:ext uri="{BB962C8B-B14F-4D97-AF65-F5344CB8AC3E}">
        <p14:creationId xmlns:p14="http://schemas.microsoft.com/office/powerpoint/2010/main" val="1824630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2031AF6-1BB8-924D-B3D3-6A491011B9B5}"/>
              </a:ext>
            </a:extLst>
          </p:cNvPr>
          <p:cNvSpPr>
            <a:spLocks noGrp="1"/>
          </p:cNvSpPr>
          <p:nvPr>
            <p:ph type="title"/>
          </p:nvPr>
        </p:nvSpPr>
        <p:spPr/>
        <p:txBody>
          <a:body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91249660-C54D-CC47-9188-AAEA428BE28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4" name="Platshållare för datum 3">
            <a:extLst>
              <a:ext uri="{FF2B5EF4-FFF2-40B4-BE49-F238E27FC236}">
                <a16:creationId xmlns:a16="http://schemas.microsoft.com/office/drawing/2014/main" id="{A5864421-124E-F84A-B4EC-D473AC306426}"/>
              </a:ext>
            </a:extLst>
          </p:cNvPr>
          <p:cNvSpPr>
            <a:spLocks noGrp="1"/>
          </p:cNvSpPr>
          <p:nvPr>
            <p:ph type="dt" sz="half" idx="10"/>
          </p:nvPr>
        </p:nvSpPr>
        <p:spPr/>
        <p:txBody>
          <a:bodyPr/>
          <a:lstStyle/>
          <a:p>
            <a:fld id="{668F3EB6-098A-420D-9AA7-BFDE6805CDA9}" type="datetimeFigureOut">
              <a:rPr lang="sv-SE" smtClean="0"/>
              <a:t>2022-05-31</a:t>
            </a:fld>
            <a:endParaRPr lang="sv-SE"/>
          </a:p>
        </p:txBody>
      </p:sp>
      <p:sp>
        <p:nvSpPr>
          <p:cNvPr id="5" name="Platshållare för sidfot 4">
            <a:extLst>
              <a:ext uri="{FF2B5EF4-FFF2-40B4-BE49-F238E27FC236}">
                <a16:creationId xmlns:a16="http://schemas.microsoft.com/office/drawing/2014/main" id="{A0F3570E-98B5-7B4E-9928-C0E37A893E31}"/>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8CA80BB-3145-BF42-BBB3-A226E6CB048F}"/>
              </a:ext>
            </a:extLst>
          </p:cNvPr>
          <p:cNvSpPr>
            <a:spLocks noGrp="1"/>
          </p:cNvSpPr>
          <p:nvPr>
            <p:ph type="sldNum" sz="quarter" idx="12"/>
          </p:nvPr>
        </p:nvSpPr>
        <p:spPr/>
        <p:txBody>
          <a:bodyPr/>
          <a:lstStyle/>
          <a:p>
            <a:fld id="{205F8CC0-987B-445B-BE72-B2F92B1EF532}" type="slidenum">
              <a:rPr lang="sv-SE" smtClean="0"/>
              <a:t>‹#›</a:t>
            </a:fld>
            <a:endParaRPr lang="sv-SE"/>
          </a:p>
        </p:txBody>
      </p:sp>
    </p:spTree>
    <p:extLst>
      <p:ext uri="{BB962C8B-B14F-4D97-AF65-F5344CB8AC3E}">
        <p14:creationId xmlns:p14="http://schemas.microsoft.com/office/powerpoint/2010/main" val="38425082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766822E-0690-BB40-AC58-D41205CEA2B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sv-SE"/>
          </a:p>
        </p:txBody>
      </p:sp>
      <p:sp>
        <p:nvSpPr>
          <p:cNvPr id="3" name="Platshållare för text 2">
            <a:extLst>
              <a:ext uri="{FF2B5EF4-FFF2-40B4-BE49-F238E27FC236}">
                <a16:creationId xmlns:a16="http://schemas.microsoft.com/office/drawing/2014/main" id="{3AF4E14B-0384-BB47-AF14-D0D7187E45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Platshållare för datum 3">
            <a:extLst>
              <a:ext uri="{FF2B5EF4-FFF2-40B4-BE49-F238E27FC236}">
                <a16:creationId xmlns:a16="http://schemas.microsoft.com/office/drawing/2014/main" id="{B31555DD-8A57-6D4B-962E-0BA3EC525C7F}"/>
              </a:ext>
            </a:extLst>
          </p:cNvPr>
          <p:cNvSpPr>
            <a:spLocks noGrp="1"/>
          </p:cNvSpPr>
          <p:nvPr>
            <p:ph type="dt" sz="half" idx="10"/>
          </p:nvPr>
        </p:nvSpPr>
        <p:spPr/>
        <p:txBody>
          <a:bodyPr/>
          <a:lstStyle/>
          <a:p>
            <a:fld id="{668F3EB6-098A-420D-9AA7-BFDE6805CDA9}" type="datetimeFigureOut">
              <a:rPr lang="sv-SE" smtClean="0"/>
              <a:t>2022-05-31</a:t>
            </a:fld>
            <a:endParaRPr lang="sv-SE"/>
          </a:p>
        </p:txBody>
      </p:sp>
      <p:sp>
        <p:nvSpPr>
          <p:cNvPr id="5" name="Platshållare för sidfot 4">
            <a:extLst>
              <a:ext uri="{FF2B5EF4-FFF2-40B4-BE49-F238E27FC236}">
                <a16:creationId xmlns:a16="http://schemas.microsoft.com/office/drawing/2014/main" id="{288E4DD5-454A-964D-BBCF-9F356ABAE49D}"/>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2A819E5-C185-434F-BD74-24A74985580B}"/>
              </a:ext>
            </a:extLst>
          </p:cNvPr>
          <p:cNvSpPr>
            <a:spLocks noGrp="1"/>
          </p:cNvSpPr>
          <p:nvPr>
            <p:ph type="sldNum" sz="quarter" idx="12"/>
          </p:nvPr>
        </p:nvSpPr>
        <p:spPr/>
        <p:txBody>
          <a:bodyPr/>
          <a:lstStyle/>
          <a:p>
            <a:fld id="{205F8CC0-987B-445B-BE72-B2F92B1EF532}" type="slidenum">
              <a:rPr lang="sv-SE" smtClean="0"/>
              <a:t>‹#›</a:t>
            </a:fld>
            <a:endParaRPr lang="sv-SE"/>
          </a:p>
        </p:txBody>
      </p:sp>
    </p:spTree>
    <p:extLst>
      <p:ext uri="{BB962C8B-B14F-4D97-AF65-F5344CB8AC3E}">
        <p14:creationId xmlns:p14="http://schemas.microsoft.com/office/powerpoint/2010/main" val="27473877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DECB46E-5D2C-314F-A0AE-E8A4ABF92ED6}"/>
              </a:ext>
            </a:extLst>
          </p:cNvPr>
          <p:cNvSpPr>
            <a:spLocks noGrp="1"/>
          </p:cNvSpPr>
          <p:nvPr>
            <p:ph type="title"/>
          </p:nvPr>
        </p:nvSpPr>
        <p:spPr/>
        <p:txBody>
          <a:body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208A65F4-32A8-2947-8122-4CCF7D12B1F1}"/>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4" name="Platshållare för innehåll 3">
            <a:extLst>
              <a:ext uri="{FF2B5EF4-FFF2-40B4-BE49-F238E27FC236}">
                <a16:creationId xmlns:a16="http://schemas.microsoft.com/office/drawing/2014/main" id="{060703C1-4E44-A544-9A1A-AE9425886F4B}"/>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5" name="Platshållare för datum 4">
            <a:extLst>
              <a:ext uri="{FF2B5EF4-FFF2-40B4-BE49-F238E27FC236}">
                <a16:creationId xmlns:a16="http://schemas.microsoft.com/office/drawing/2014/main" id="{F152DB06-3625-CE40-A065-85245A1FAC9A}"/>
              </a:ext>
            </a:extLst>
          </p:cNvPr>
          <p:cNvSpPr>
            <a:spLocks noGrp="1"/>
          </p:cNvSpPr>
          <p:nvPr>
            <p:ph type="dt" sz="half" idx="10"/>
          </p:nvPr>
        </p:nvSpPr>
        <p:spPr/>
        <p:txBody>
          <a:bodyPr/>
          <a:lstStyle/>
          <a:p>
            <a:fld id="{668F3EB6-098A-420D-9AA7-BFDE6805CDA9}" type="datetimeFigureOut">
              <a:rPr lang="sv-SE" smtClean="0"/>
              <a:t>2022-05-31</a:t>
            </a:fld>
            <a:endParaRPr lang="sv-SE"/>
          </a:p>
        </p:txBody>
      </p:sp>
      <p:sp>
        <p:nvSpPr>
          <p:cNvPr id="6" name="Platshållare för sidfot 5">
            <a:extLst>
              <a:ext uri="{FF2B5EF4-FFF2-40B4-BE49-F238E27FC236}">
                <a16:creationId xmlns:a16="http://schemas.microsoft.com/office/drawing/2014/main" id="{68AAD808-689E-AE4B-AD33-D153BA31DDBD}"/>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6B7C03FF-EF41-8F46-91BF-9B1FF64D6E18}"/>
              </a:ext>
            </a:extLst>
          </p:cNvPr>
          <p:cNvSpPr>
            <a:spLocks noGrp="1"/>
          </p:cNvSpPr>
          <p:nvPr>
            <p:ph type="sldNum" sz="quarter" idx="12"/>
          </p:nvPr>
        </p:nvSpPr>
        <p:spPr/>
        <p:txBody>
          <a:bodyPr/>
          <a:lstStyle/>
          <a:p>
            <a:fld id="{205F8CC0-987B-445B-BE72-B2F92B1EF532}" type="slidenum">
              <a:rPr lang="sv-SE" smtClean="0"/>
              <a:t>‹#›</a:t>
            </a:fld>
            <a:endParaRPr lang="sv-SE"/>
          </a:p>
        </p:txBody>
      </p:sp>
    </p:spTree>
    <p:extLst>
      <p:ext uri="{BB962C8B-B14F-4D97-AF65-F5344CB8AC3E}">
        <p14:creationId xmlns:p14="http://schemas.microsoft.com/office/powerpoint/2010/main" val="40126803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143E0B0-4628-E74A-B79B-CD4921EB7975}"/>
              </a:ext>
            </a:extLst>
          </p:cNvPr>
          <p:cNvSpPr>
            <a:spLocks noGrp="1"/>
          </p:cNvSpPr>
          <p:nvPr>
            <p:ph type="title"/>
          </p:nvPr>
        </p:nvSpPr>
        <p:spPr>
          <a:xfrm>
            <a:off x="839788" y="365125"/>
            <a:ext cx="10515600" cy="1325563"/>
          </a:xfrm>
        </p:spPr>
        <p:txBody>
          <a:bodyPr/>
          <a:lstStyle/>
          <a:p>
            <a:r>
              <a:rPr lang="en-GB"/>
              <a:t>Click to edit Master title style</a:t>
            </a:r>
            <a:endParaRPr lang="sv-SE"/>
          </a:p>
        </p:txBody>
      </p:sp>
      <p:sp>
        <p:nvSpPr>
          <p:cNvPr id="3" name="Platshållare för text 2">
            <a:extLst>
              <a:ext uri="{FF2B5EF4-FFF2-40B4-BE49-F238E27FC236}">
                <a16:creationId xmlns:a16="http://schemas.microsoft.com/office/drawing/2014/main" id="{0C6C358C-25DE-3948-AF88-C7EE961583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Platshållare för innehåll 3">
            <a:extLst>
              <a:ext uri="{FF2B5EF4-FFF2-40B4-BE49-F238E27FC236}">
                <a16:creationId xmlns:a16="http://schemas.microsoft.com/office/drawing/2014/main" id="{CC06DC92-6E38-634F-AA34-5E4B3543D62D}"/>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5" name="Platshållare för text 4">
            <a:extLst>
              <a:ext uri="{FF2B5EF4-FFF2-40B4-BE49-F238E27FC236}">
                <a16:creationId xmlns:a16="http://schemas.microsoft.com/office/drawing/2014/main" id="{F6046AAB-59FC-2842-8792-91CF96517FD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Platshållare för innehåll 5">
            <a:extLst>
              <a:ext uri="{FF2B5EF4-FFF2-40B4-BE49-F238E27FC236}">
                <a16:creationId xmlns:a16="http://schemas.microsoft.com/office/drawing/2014/main" id="{EAB41B92-F3A6-6045-B66F-CB836AF6677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7" name="Platshållare för datum 6">
            <a:extLst>
              <a:ext uri="{FF2B5EF4-FFF2-40B4-BE49-F238E27FC236}">
                <a16:creationId xmlns:a16="http://schemas.microsoft.com/office/drawing/2014/main" id="{C7C4BC59-48A8-9241-843D-02EFF3F811BF}"/>
              </a:ext>
            </a:extLst>
          </p:cNvPr>
          <p:cNvSpPr>
            <a:spLocks noGrp="1"/>
          </p:cNvSpPr>
          <p:nvPr>
            <p:ph type="dt" sz="half" idx="10"/>
          </p:nvPr>
        </p:nvSpPr>
        <p:spPr/>
        <p:txBody>
          <a:bodyPr/>
          <a:lstStyle/>
          <a:p>
            <a:fld id="{668F3EB6-098A-420D-9AA7-BFDE6805CDA9}" type="datetimeFigureOut">
              <a:rPr lang="sv-SE" smtClean="0"/>
              <a:t>2022-05-31</a:t>
            </a:fld>
            <a:endParaRPr lang="sv-SE"/>
          </a:p>
        </p:txBody>
      </p:sp>
      <p:sp>
        <p:nvSpPr>
          <p:cNvPr id="8" name="Platshållare för sidfot 7">
            <a:extLst>
              <a:ext uri="{FF2B5EF4-FFF2-40B4-BE49-F238E27FC236}">
                <a16:creationId xmlns:a16="http://schemas.microsoft.com/office/drawing/2014/main" id="{2EAB4622-0609-4E43-919D-A84A9073545A}"/>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EF393851-6684-D048-ABB4-E5E8826A7E5C}"/>
              </a:ext>
            </a:extLst>
          </p:cNvPr>
          <p:cNvSpPr>
            <a:spLocks noGrp="1"/>
          </p:cNvSpPr>
          <p:nvPr>
            <p:ph type="sldNum" sz="quarter" idx="12"/>
          </p:nvPr>
        </p:nvSpPr>
        <p:spPr/>
        <p:txBody>
          <a:bodyPr/>
          <a:lstStyle/>
          <a:p>
            <a:fld id="{205F8CC0-987B-445B-BE72-B2F92B1EF532}" type="slidenum">
              <a:rPr lang="sv-SE" smtClean="0"/>
              <a:t>‹#›</a:t>
            </a:fld>
            <a:endParaRPr lang="sv-SE"/>
          </a:p>
        </p:txBody>
      </p:sp>
    </p:spTree>
    <p:extLst>
      <p:ext uri="{BB962C8B-B14F-4D97-AF65-F5344CB8AC3E}">
        <p14:creationId xmlns:p14="http://schemas.microsoft.com/office/powerpoint/2010/main" val="29422304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882F91-2F6B-D54D-8A23-B5AAA6D12F78}"/>
              </a:ext>
            </a:extLst>
          </p:cNvPr>
          <p:cNvSpPr>
            <a:spLocks noGrp="1"/>
          </p:cNvSpPr>
          <p:nvPr>
            <p:ph type="title"/>
          </p:nvPr>
        </p:nvSpPr>
        <p:spPr/>
        <p:txBody>
          <a:bodyPr/>
          <a:lstStyle/>
          <a:p>
            <a:r>
              <a:rPr lang="en-GB"/>
              <a:t>Click to edit Master title style</a:t>
            </a:r>
            <a:endParaRPr lang="sv-SE"/>
          </a:p>
        </p:txBody>
      </p:sp>
      <p:sp>
        <p:nvSpPr>
          <p:cNvPr id="3" name="Platshållare för datum 2">
            <a:extLst>
              <a:ext uri="{FF2B5EF4-FFF2-40B4-BE49-F238E27FC236}">
                <a16:creationId xmlns:a16="http://schemas.microsoft.com/office/drawing/2014/main" id="{1CFE3379-0EB7-704E-B518-DE1766722AFD}"/>
              </a:ext>
            </a:extLst>
          </p:cNvPr>
          <p:cNvSpPr>
            <a:spLocks noGrp="1"/>
          </p:cNvSpPr>
          <p:nvPr>
            <p:ph type="dt" sz="half" idx="10"/>
          </p:nvPr>
        </p:nvSpPr>
        <p:spPr/>
        <p:txBody>
          <a:bodyPr/>
          <a:lstStyle/>
          <a:p>
            <a:fld id="{668F3EB6-098A-420D-9AA7-BFDE6805CDA9}" type="datetimeFigureOut">
              <a:rPr lang="sv-SE" smtClean="0"/>
              <a:t>2022-05-31</a:t>
            </a:fld>
            <a:endParaRPr lang="sv-SE"/>
          </a:p>
        </p:txBody>
      </p:sp>
      <p:sp>
        <p:nvSpPr>
          <p:cNvPr id="4" name="Platshållare för sidfot 3">
            <a:extLst>
              <a:ext uri="{FF2B5EF4-FFF2-40B4-BE49-F238E27FC236}">
                <a16:creationId xmlns:a16="http://schemas.microsoft.com/office/drawing/2014/main" id="{142EC002-DE7B-9D4F-9A8F-754C02CA3F14}"/>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B341C0CB-69B1-6C42-B4BD-DEBFDDCA7ED1}"/>
              </a:ext>
            </a:extLst>
          </p:cNvPr>
          <p:cNvSpPr>
            <a:spLocks noGrp="1"/>
          </p:cNvSpPr>
          <p:nvPr>
            <p:ph type="sldNum" sz="quarter" idx="12"/>
          </p:nvPr>
        </p:nvSpPr>
        <p:spPr/>
        <p:txBody>
          <a:bodyPr/>
          <a:lstStyle/>
          <a:p>
            <a:fld id="{205F8CC0-987B-445B-BE72-B2F92B1EF532}" type="slidenum">
              <a:rPr lang="sv-SE" smtClean="0"/>
              <a:t>‹#›</a:t>
            </a:fld>
            <a:endParaRPr lang="sv-SE"/>
          </a:p>
        </p:txBody>
      </p:sp>
    </p:spTree>
    <p:extLst>
      <p:ext uri="{BB962C8B-B14F-4D97-AF65-F5344CB8AC3E}">
        <p14:creationId xmlns:p14="http://schemas.microsoft.com/office/powerpoint/2010/main" val="20974667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192F7D8-8F78-6145-9F60-B06804C64A8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sv-SE"/>
          </a:p>
        </p:txBody>
      </p:sp>
      <p:sp>
        <p:nvSpPr>
          <p:cNvPr id="3" name="Platshållare för innehåll 2">
            <a:extLst>
              <a:ext uri="{FF2B5EF4-FFF2-40B4-BE49-F238E27FC236}">
                <a16:creationId xmlns:a16="http://schemas.microsoft.com/office/drawing/2014/main" id="{256B78BC-268C-054C-B0EA-5617C7B6CE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4" name="Platshållare för text 3">
            <a:extLst>
              <a:ext uri="{FF2B5EF4-FFF2-40B4-BE49-F238E27FC236}">
                <a16:creationId xmlns:a16="http://schemas.microsoft.com/office/drawing/2014/main" id="{636352E9-0F79-0E42-8979-E145B045B2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Platshållare för datum 4">
            <a:extLst>
              <a:ext uri="{FF2B5EF4-FFF2-40B4-BE49-F238E27FC236}">
                <a16:creationId xmlns:a16="http://schemas.microsoft.com/office/drawing/2014/main" id="{664ED515-F3D1-BA4F-8DC5-BC31C5B05D53}"/>
              </a:ext>
            </a:extLst>
          </p:cNvPr>
          <p:cNvSpPr>
            <a:spLocks noGrp="1"/>
          </p:cNvSpPr>
          <p:nvPr>
            <p:ph type="dt" sz="half" idx="10"/>
          </p:nvPr>
        </p:nvSpPr>
        <p:spPr/>
        <p:txBody>
          <a:bodyPr/>
          <a:lstStyle/>
          <a:p>
            <a:fld id="{668F3EB6-098A-420D-9AA7-BFDE6805CDA9}" type="datetimeFigureOut">
              <a:rPr lang="sv-SE" smtClean="0"/>
              <a:t>2022-05-31</a:t>
            </a:fld>
            <a:endParaRPr lang="sv-SE"/>
          </a:p>
        </p:txBody>
      </p:sp>
      <p:sp>
        <p:nvSpPr>
          <p:cNvPr id="6" name="Platshållare för sidfot 5">
            <a:extLst>
              <a:ext uri="{FF2B5EF4-FFF2-40B4-BE49-F238E27FC236}">
                <a16:creationId xmlns:a16="http://schemas.microsoft.com/office/drawing/2014/main" id="{F6E06713-8942-FF4B-9E5F-9A1BF8998772}"/>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4E3D6DBF-54D9-AB47-8B32-8A256EEB16A6}"/>
              </a:ext>
            </a:extLst>
          </p:cNvPr>
          <p:cNvSpPr>
            <a:spLocks noGrp="1"/>
          </p:cNvSpPr>
          <p:nvPr>
            <p:ph type="sldNum" sz="quarter" idx="12"/>
          </p:nvPr>
        </p:nvSpPr>
        <p:spPr/>
        <p:txBody>
          <a:bodyPr/>
          <a:lstStyle/>
          <a:p>
            <a:fld id="{205F8CC0-987B-445B-BE72-B2F92B1EF532}" type="slidenum">
              <a:rPr lang="sv-SE" smtClean="0"/>
              <a:t>‹#›</a:t>
            </a:fld>
            <a:endParaRPr lang="sv-SE"/>
          </a:p>
        </p:txBody>
      </p:sp>
    </p:spTree>
    <p:extLst>
      <p:ext uri="{BB962C8B-B14F-4D97-AF65-F5344CB8AC3E}">
        <p14:creationId xmlns:p14="http://schemas.microsoft.com/office/powerpoint/2010/main" val="7606177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AE8E9A5-6261-984E-9BEF-AA3F85D4EBB9}"/>
              </a:ext>
            </a:extLst>
          </p:cNvPr>
          <p:cNvSpPr>
            <a:spLocks noGrp="1"/>
          </p:cNvSpPr>
          <p:nvPr>
            <p:ph type="ctrTitle"/>
          </p:nvPr>
        </p:nvSpPr>
        <p:spPr>
          <a:xfrm>
            <a:off x="1524000" y="1122363"/>
            <a:ext cx="9144000" cy="2387600"/>
          </a:xfrm>
        </p:spPr>
        <p:txBody>
          <a:bodyPr anchor="b">
            <a:normAutofit/>
          </a:bodyPr>
          <a:lstStyle>
            <a:lvl1pPr algn="ctr">
              <a:defRPr sz="6000" baseline="0">
                <a:latin typeface="Roboto" panose="02000000000000000000" pitchFamily="2" charset="0"/>
              </a:defRPr>
            </a:lvl1pPr>
          </a:lstStyle>
          <a:p>
            <a:r>
              <a:rPr lang="en-GB"/>
              <a:t>Click to edit Master title style</a:t>
            </a:r>
            <a:endParaRPr lang="sv-SE"/>
          </a:p>
        </p:txBody>
      </p:sp>
      <p:sp>
        <p:nvSpPr>
          <p:cNvPr id="3" name="Underrubrik 2">
            <a:extLst>
              <a:ext uri="{FF2B5EF4-FFF2-40B4-BE49-F238E27FC236}">
                <a16:creationId xmlns:a16="http://schemas.microsoft.com/office/drawing/2014/main" id="{01D24171-B42A-8A49-B37E-A6436D510B5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sv-SE"/>
          </a:p>
        </p:txBody>
      </p:sp>
      <p:sp>
        <p:nvSpPr>
          <p:cNvPr id="4" name="Platshållare för datum 3">
            <a:extLst>
              <a:ext uri="{FF2B5EF4-FFF2-40B4-BE49-F238E27FC236}">
                <a16:creationId xmlns:a16="http://schemas.microsoft.com/office/drawing/2014/main" id="{63C33B4A-C389-0848-868B-282A36E2D03E}"/>
              </a:ext>
            </a:extLst>
          </p:cNvPr>
          <p:cNvSpPr>
            <a:spLocks noGrp="1"/>
          </p:cNvSpPr>
          <p:nvPr>
            <p:ph type="dt" sz="half" idx="10"/>
          </p:nvPr>
        </p:nvSpPr>
        <p:spPr/>
        <p:txBody>
          <a:bodyPr/>
          <a:lstStyle/>
          <a:p>
            <a:fld id="{668F3EB6-098A-420D-9AA7-BFDE6805CDA9}" type="datetimeFigureOut">
              <a:rPr lang="sv-SE" smtClean="0"/>
              <a:t>2022-05-31</a:t>
            </a:fld>
            <a:endParaRPr lang="sv-SE"/>
          </a:p>
        </p:txBody>
      </p:sp>
      <p:sp>
        <p:nvSpPr>
          <p:cNvPr id="5" name="Platshållare för sidfot 4">
            <a:extLst>
              <a:ext uri="{FF2B5EF4-FFF2-40B4-BE49-F238E27FC236}">
                <a16:creationId xmlns:a16="http://schemas.microsoft.com/office/drawing/2014/main" id="{7C7E08D4-C2D2-7246-ABEE-3BAD80286181}"/>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9CE4B157-8F7E-5941-8158-1726D1D52C66}"/>
              </a:ext>
            </a:extLst>
          </p:cNvPr>
          <p:cNvSpPr>
            <a:spLocks noGrp="1"/>
          </p:cNvSpPr>
          <p:nvPr>
            <p:ph type="sldNum" sz="quarter" idx="12"/>
          </p:nvPr>
        </p:nvSpPr>
        <p:spPr>
          <a:xfrm>
            <a:off x="8610600" y="6356349"/>
            <a:ext cx="2743200" cy="365125"/>
          </a:xfrm>
        </p:spPr>
        <p:txBody>
          <a:bodyPr/>
          <a:lstStyle/>
          <a:p>
            <a:fld id="{205F8CC0-987B-445B-BE72-B2F92B1EF532}" type="slidenum">
              <a:rPr lang="sv-SE" smtClean="0"/>
              <a:t>‹#›</a:t>
            </a:fld>
            <a:endParaRPr lang="sv-SE"/>
          </a:p>
        </p:txBody>
      </p:sp>
      <p:cxnSp>
        <p:nvCxnSpPr>
          <p:cNvPr id="7" name="Rak 4">
            <a:extLst>
              <a:ext uri="{FF2B5EF4-FFF2-40B4-BE49-F238E27FC236}">
                <a16:creationId xmlns:a16="http://schemas.microsoft.com/office/drawing/2014/main" id="{DD9CDFA1-70D4-E449-B910-AF0153640F2D}"/>
              </a:ext>
            </a:extLst>
          </p:cNvPr>
          <p:cNvCxnSpPr>
            <a:cxnSpLocks/>
          </p:cNvCxnSpPr>
          <p:nvPr/>
        </p:nvCxnSpPr>
        <p:spPr>
          <a:xfrm>
            <a:off x="4248150" y="3519099"/>
            <a:ext cx="3743325" cy="0"/>
          </a:xfrm>
          <a:prstGeom prst="line">
            <a:avLst/>
          </a:prstGeom>
          <a:ln w="50800"/>
        </p:spPr>
        <p:style>
          <a:lnRef idx="1">
            <a:schemeClr val="accent1"/>
          </a:lnRef>
          <a:fillRef idx="0">
            <a:schemeClr val="accent1"/>
          </a:fillRef>
          <a:effectRef idx="0">
            <a:schemeClr val="accent1"/>
          </a:effectRef>
          <a:fontRef idx="minor">
            <a:schemeClr val="tx1"/>
          </a:fontRef>
        </p:style>
      </p:cxnSp>
      <p:pic>
        <p:nvPicPr>
          <p:cNvPr id="8" name="Bild 4">
            <a:extLst>
              <a:ext uri="{FF2B5EF4-FFF2-40B4-BE49-F238E27FC236}">
                <a16:creationId xmlns:a16="http://schemas.microsoft.com/office/drawing/2014/main" id="{1E411FF4-A6DD-AD40-83E0-5754711345F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69572" y="-6907"/>
            <a:ext cx="2240356" cy="915075"/>
          </a:xfrm>
          <a:prstGeom prst="rect">
            <a:avLst/>
          </a:prstGeom>
        </p:spPr>
      </p:pic>
    </p:spTree>
    <p:extLst>
      <p:ext uri="{BB962C8B-B14F-4D97-AF65-F5344CB8AC3E}">
        <p14:creationId xmlns:p14="http://schemas.microsoft.com/office/powerpoint/2010/main" val="1127763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AE8E9A5-6261-984E-9BEF-AA3F85D4EBB9}"/>
              </a:ext>
            </a:extLst>
          </p:cNvPr>
          <p:cNvSpPr>
            <a:spLocks noGrp="1"/>
          </p:cNvSpPr>
          <p:nvPr>
            <p:ph type="ctrTitle"/>
          </p:nvPr>
        </p:nvSpPr>
        <p:spPr>
          <a:xfrm>
            <a:off x="1524000" y="1122363"/>
            <a:ext cx="9144000" cy="2387600"/>
          </a:xfrm>
        </p:spPr>
        <p:txBody>
          <a:bodyPr anchor="b"/>
          <a:lstStyle>
            <a:lvl1pPr algn="ctr">
              <a:defRPr sz="6000"/>
            </a:lvl1pPr>
          </a:lstStyle>
          <a:p>
            <a:r>
              <a:rPr lang="sv-SE"/>
              <a:t>Klicka här för att ändra mall för rubrikformat</a:t>
            </a:r>
          </a:p>
        </p:txBody>
      </p:sp>
      <p:sp>
        <p:nvSpPr>
          <p:cNvPr id="3" name="Underrubrik 2">
            <a:extLst>
              <a:ext uri="{FF2B5EF4-FFF2-40B4-BE49-F238E27FC236}">
                <a16:creationId xmlns:a16="http://schemas.microsoft.com/office/drawing/2014/main" id="{01D24171-B42A-8A49-B37E-A6436D510B5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a:extLst>
              <a:ext uri="{FF2B5EF4-FFF2-40B4-BE49-F238E27FC236}">
                <a16:creationId xmlns:a16="http://schemas.microsoft.com/office/drawing/2014/main" id="{63C33B4A-C389-0848-868B-282A36E2D03E}"/>
              </a:ext>
            </a:extLst>
          </p:cNvPr>
          <p:cNvSpPr>
            <a:spLocks noGrp="1"/>
          </p:cNvSpPr>
          <p:nvPr>
            <p:ph type="dt" sz="half" idx="10"/>
          </p:nvPr>
        </p:nvSpPr>
        <p:spPr/>
        <p:txBody>
          <a:bodyPr/>
          <a:lstStyle/>
          <a:p>
            <a:fld id="{668F3EB6-098A-420D-9AA7-BFDE6805CDA9}" type="datetimeFigureOut">
              <a:rPr lang="sv-SE" smtClean="0"/>
              <a:t>2022-05-31</a:t>
            </a:fld>
            <a:endParaRPr lang="sv-SE"/>
          </a:p>
        </p:txBody>
      </p:sp>
      <p:sp>
        <p:nvSpPr>
          <p:cNvPr id="5" name="Platshållare för sidfot 4">
            <a:extLst>
              <a:ext uri="{FF2B5EF4-FFF2-40B4-BE49-F238E27FC236}">
                <a16:creationId xmlns:a16="http://schemas.microsoft.com/office/drawing/2014/main" id="{7C7E08D4-C2D2-7246-ABEE-3BAD80286181}"/>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9CE4B157-8F7E-5941-8158-1726D1D52C66}"/>
              </a:ext>
            </a:extLst>
          </p:cNvPr>
          <p:cNvSpPr>
            <a:spLocks noGrp="1"/>
          </p:cNvSpPr>
          <p:nvPr>
            <p:ph type="sldNum" sz="quarter" idx="12"/>
          </p:nvPr>
        </p:nvSpPr>
        <p:spPr/>
        <p:txBody>
          <a:bodyPr/>
          <a:lstStyle/>
          <a:p>
            <a:fld id="{205F8CC0-987B-445B-BE72-B2F92B1EF532}" type="slidenum">
              <a:rPr lang="sv-SE" smtClean="0"/>
              <a:t>‹#›</a:t>
            </a:fld>
            <a:endParaRPr lang="sv-SE"/>
          </a:p>
        </p:txBody>
      </p:sp>
    </p:spTree>
    <p:extLst>
      <p:ext uri="{BB962C8B-B14F-4D97-AF65-F5344CB8AC3E}">
        <p14:creationId xmlns:p14="http://schemas.microsoft.com/office/powerpoint/2010/main" val="23314795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 content">
    <p:spTree>
      <p:nvGrpSpPr>
        <p:cNvPr id="1" name=""/>
        <p:cNvGrpSpPr/>
        <p:nvPr/>
      </p:nvGrpSpPr>
      <p:grpSpPr>
        <a:xfrm>
          <a:off x="0" y="0"/>
          <a:ext cx="0" cy="0"/>
          <a:chOff x="0" y="0"/>
          <a:chExt cx="0" cy="0"/>
        </a:xfrm>
      </p:grpSpPr>
      <p:cxnSp>
        <p:nvCxnSpPr>
          <p:cNvPr id="8" name="Rak 7">
            <a:extLst>
              <a:ext uri="{FF2B5EF4-FFF2-40B4-BE49-F238E27FC236}">
                <a16:creationId xmlns:a16="http://schemas.microsoft.com/office/drawing/2014/main" id="{44131D12-E502-D74F-A6E5-34EFAF93E89D}"/>
              </a:ext>
            </a:extLst>
          </p:cNvPr>
          <p:cNvCxnSpPr>
            <a:cxnSpLocks/>
          </p:cNvCxnSpPr>
          <p:nvPr/>
        </p:nvCxnSpPr>
        <p:spPr>
          <a:xfrm flipH="1">
            <a:off x="838200" y="1483019"/>
            <a:ext cx="1853514"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12" name="Content Placeholder 11">
            <a:extLst>
              <a:ext uri="{FF2B5EF4-FFF2-40B4-BE49-F238E27FC236}">
                <a16:creationId xmlns:a16="http://schemas.microsoft.com/office/drawing/2014/main" id="{811372AF-0CB9-4B46-B3DB-8BA2A06BB178}"/>
              </a:ext>
            </a:extLst>
          </p:cNvPr>
          <p:cNvSpPr>
            <a:spLocks noGrp="1"/>
          </p:cNvSpPr>
          <p:nvPr>
            <p:ph sz="quarter" idx="10"/>
          </p:nvPr>
        </p:nvSpPr>
        <p:spPr>
          <a:xfrm>
            <a:off x="836613" y="1874984"/>
            <a:ext cx="10515600" cy="41052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pic>
        <p:nvPicPr>
          <p:cNvPr id="5" name="Bild 4">
            <a:extLst>
              <a:ext uri="{FF2B5EF4-FFF2-40B4-BE49-F238E27FC236}">
                <a16:creationId xmlns:a16="http://schemas.microsoft.com/office/drawing/2014/main" id="{52C83BCE-B308-5748-BDB1-56DF255791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25316" y="6297906"/>
            <a:ext cx="1384612" cy="565546"/>
          </a:xfrm>
          <a:prstGeom prst="rect">
            <a:avLst/>
          </a:prstGeom>
        </p:spPr>
      </p:pic>
      <p:sp>
        <p:nvSpPr>
          <p:cNvPr id="7" name="Title 6">
            <a:extLst>
              <a:ext uri="{FF2B5EF4-FFF2-40B4-BE49-F238E27FC236}">
                <a16:creationId xmlns:a16="http://schemas.microsoft.com/office/drawing/2014/main" id="{14476A95-659E-8548-99C4-D76D4F180F9F}"/>
              </a:ext>
            </a:extLst>
          </p:cNvPr>
          <p:cNvSpPr>
            <a:spLocks noGrp="1"/>
          </p:cNvSpPr>
          <p:nvPr>
            <p:ph type="title"/>
          </p:nvPr>
        </p:nvSpPr>
        <p:spPr/>
        <p:txBody>
          <a:bodyPr/>
          <a:lstStyle/>
          <a:p>
            <a:r>
              <a:rPr lang="en-GB"/>
              <a:t>Click to edit Master title style</a:t>
            </a:r>
            <a:endParaRPr lang="en-SE"/>
          </a:p>
        </p:txBody>
      </p:sp>
      <p:sp>
        <p:nvSpPr>
          <p:cNvPr id="11" name="Slide Number Placeholder 10">
            <a:extLst>
              <a:ext uri="{FF2B5EF4-FFF2-40B4-BE49-F238E27FC236}">
                <a16:creationId xmlns:a16="http://schemas.microsoft.com/office/drawing/2014/main" id="{112584D1-7D6D-B847-91F4-39AAFC4D4D69}"/>
              </a:ext>
            </a:extLst>
          </p:cNvPr>
          <p:cNvSpPr>
            <a:spLocks noGrp="1"/>
          </p:cNvSpPr>
          <p:nvPr>
            <p:ph type="sldNum" sz="quarter" idx="13"/>
          </p:nvPr>
        </p:nvSpPr>
        <p:spPr>
          <a:xfrm>
            <a:off x="73152" y="6452208"/>
            <a:ext cx="2743200" cy="365125"/>
          </a:xfrm>
        </p:spPr>
        <p:txBody>
          <a:bodyPr/>
          <a:lstStyle>
            <a:lvl1pPr algn="l">
              <a:defRPr/>
            </a:lvl1pPr>
          </a:lstStyle>
          <a:p>
            <a:fld id="{09B34A05-4040-9041-85F3-D81B1FC028C6}" type="slidenum">
              <a:rPr lang="en-US" smtClean="0"/>
              <a:pPr/>
              <a:t>‹#›</a:t>
            </a:fld>
            <a:endParaRPr lang="en-US"/>
          </a:p>
        </p:txBody>
      </p:sp>
    </p:spTree>
    <p:extLst>
      <p:ext uri="{BB962C8B-B14F-4D97-AF65-F5344CB8AC3E}">
        <p14:creationId xmlns:p14="http://schemas.microsoft.com/office/powerpoint/2010/main" val="734629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5" name="Rektangel 7">
            <a:extLst>
              <a:ext uri="{FF2B5EF4-FFF2-40B4-BE49-F238E27FC236}">
                <a16:creationId xmlns:a16="http://schemas.microsoft.com/office/drawing/2014/main" id="{03CEE011-E230-4947-A473-B90B476FFC72}"/>
              </a:ext>
            </a:extLst>
          </p:cNvPr>
          <p:cNvSpPr/>
          <p:nvPr/>
        </p:nvSpPr>
        <p:spPr>
          <a:xfrm>
            <a:off x="0" y="0"/>
            <a:ext cx="495505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Content Placeholder 9">
            <a:extLst>
              <a:ext uri="{FF2B5EF4-FFF2-40B4-BE49-F238E27FC236}">
                <a16:creationId xmlns:a16="http://schemas.microsoft.com/office/drawing/2014/main" id="{324526AF-332C-3448-A1A5-661DAC4B3D2D}"/>
              </a:ext>
            </a:extLst>
          </p:cNvPr>
          <p:cNvSpPr>
            <a:spLocks noGrp="1"/>
          </p:cNvSpPr>
          <p:nvPr>
            <p:ph idx="1"/>
          </p:nvPr>
        </p:nvSpPr>
        <p:spPr>
          <a:xfrm>
            <a:off x="5968313" y="3525403"/>
            <a:ext cx="5338119" cy="2645275"/>
          </a:xfrm>
        </p:spPr>
        <p:txBody>
          <a:bodyPr>
            <a:normAutofit/>
          </a:bodyPr>
          <a:lstStyle/>
          <a:p>
            <a:pPr lvl="0">
              <a:lnSpc>
                <a:spcPct val="100000"/>
              </a:lnSpc>
              <a:buClr>
                <a:schemeClr val="accent4"/>
              </a:buClr>
              <a:buFont typeface="Systemtypsnitt normalt"/>
              <a:buChar char="→"/>
            </a:pPr>
            <a:r>
              <a:rPr lang="en-GB">
                <a:latin typeface="Roboto" panose="02000000000000000000" pitchFamily="2" charset="0"/>
              </a:rPr>
              <a:t>Click to edit Master text styles</a:t>
            </a:r>
          </a:p>
          <a:p>
            <a:pPr lvl="1">
              <a:lnSpc>
                <a:spcPct val="100000"/>
              </a:lnSpc>
              <a:buClr>
                <a:schemeClr val="accent4"/>
              </a:buClr>
              <a:buFont typeface="Systemtypsnitt normalt"/>
              <a:buChar char="→"/>
            </a:pPr>
            <a:r>
              <a:rPr lang="en-GB">
                <a:latin typeface="Roboto" panose="02000000000000000000" pitchFamily="2" charset="0"/>
              </a:rPr>
              <a:t>Second level</a:t>
            </a:r>
          </a:p>
          <a:p>
            <a:pPr lvl="2">
              <a:lnSpc>
                <a:spcPct val="100000"/>
              </a:lnSpc>
              <a:buClr>
                <a:schemeClr val="accent4"/>
              </a:buClr>
              <a:buFont typeface="Systemtypsnitt normalt"/>
              <a:buChar char="→"/>
            </a:pPr>
            <a:r>
              <a:rPr lang="en-GB">
                <a:latin typeface="Roboto" panose="02000000000000000000" pitchFamily="2" charset="0"/>
              </a:rPr>
              <a:t>Third level</a:t>
            </a:r>
          </a:p>
          <a:p>
            <a:pPr lvl="3">
              <a:lnSpc>
                <a:spcPct val="100000"/>
              </a:lnSpc>
              <a:buClr>
                <a:schemeClr val="accent4"/>
              </a:buClr>
              <a:buFont typeface="Systemtypsnitt normalt"/>
              <a:buChar char="→"/>
            </a:pPr>
            <a:r>
              <a:rPr lang="en-GB">
                <a:latin typeface="Roboto" panose="02000000000000000000" pitchFamily="2" charset="0"/>
              </a:rPr>
              <a:t>Fourth level</a:t>
            </a:r>
          </a:p>
        </p:txBody>
      </p:sp>
      <p:cxnSp>
        <p:nvCxnSpPr>
          <p:cNvPr id="8" name="Rak 10">
            <a:extLst>
              <a:ext uri="{FF2B5EF4-FFF2-40B4-BE49-F238E27FC236}">
                <a16:creationId xmlns:a16="http://schemas.microsoft.com/office/drawing/2014/main" id="{45EE2270-27D5-304D-9287-4F3458CC975F}"/>
              </a:ext>
            </a:extLst>
          </p:cNvPr>
          <p:cNvCxnSpPr/>
          <p:nvPr/>
        </p:nvCxnSpPr>
        <p:spPr>
          <a:xfrm flipH="1">
            <a:off x="3076832" y="1779373"/>
            <a:ext cx="1186249"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9" name="Rektangel 7">
            <a:extLst>
              <a:ext uri="{FF2B5EF4-FFF2-40B4-BE49-F238E27FC236}">
                <a16:creationId xmlns:a16="http://schemas.microsoft.com/office/drawing/2014/main" id="{3201743B-D3FD-6545-96FD-A5963E0E6E8D}"/>
              </a:ext>
            </a:extLst>
          </p:cNvPr>
          <p:cNvSpPr/>
          <p:nvPr/>
        </p:nvSpPr>
        <p:spPr>
          <a:xfrm>
            <a:off x="-1" y="0"/>
            <a:ext cx="4955059"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0" name="Rak 10">
            <a:extLst>
              <a:ext uri="{FF2B5EF4-FFF2-40B4-BE49-F238E27FC236}">
                <a16:creationId xmlns:a16="http://schemas.microsoft.com/office/drawing/2014/main" id="{79F8F783-0AB0-4146-93F4-209265712132}"/>
              </a:ext>
            </a:extLst>
          </p:cNvPr>
          <p:cNvCxnSpPr/>
          <p:nvPr/>
        </p:nvCxnSpPr>
        <p:spPr>
          <a:xfrm flipH="1">
            <a:off x="3076832" y="1779373"/>
            <a:ext cx="1186249"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950A664-E736-B544-9D27-9675DE177F85}"/>
              </a:ext>
            </a:extLst>
          </p:cNvPr>
          <p:cNvSpPr>
            <a:spLocks noGrp="1"/>
          </p:cNvSpPr>
          <p:nvPr>
            <p:ph type="body" sz="quarter" idx="10"/>
          </p:nvPr>
        </p:nvSpPr>
        <p:spPr>
          <a:xfrm>
            <a:off x="1143000" y="952500"/>
            <a:ext cx="3119438" cy="827088"/>
          </a:xfrm>
        </p:spPr>
        <p:txBody>
          <a:bodyPr/>
          <a:lstStyle>
            <a:lvl1pPr marL="0" indent="0">
              <a:buNone/>
              <a:defRPr baseline="0">
                <a:latin typeface="Roboto" panose="02000000000000000000" pitchFamily="2" charset="0"/>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pic>
        <p:nvPicPr>
          <p:cNvPr id="13" name="Bild 4">
            <a:extLst>
              <a:ext uri="{FF2B5EF4-FFF2-40B4-BE49-F238E27FC236}">
                <a16:creationId xmlns:a16="http://schemas.microsoft.com/office/drawing/2014/main" id="{2A93B22E-DAF6-4E4A-9E8D-5E3A10330D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03568" y="6154818"/>
            <a:ext cx="1706359" cy="696963"/>
          </a:xfrm>
          <a:prstGeom prst="rect">
            <a:avLst/>
          </a:prstGeom>
        </p:spPr>
      </p:pic>
    </p:spTree>
    <p:extLst>
      <p:ext uri="{BB962C8B-B14F-4D97-AF65-F5344CB8AC3E}">
        <p14:creationId xmlns:p14="http://schemas.microsoft.com/office/powerpoint/2010/main" val="17525573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intro slide">
    <p:spTree>
      <p:nvGrpSpPr>
        <p:cNvPr id="1" name=""/>
        <p:cNvGrpSpPr/>
        <p:nvPr/>
      </p:nvGrpSpPr>
      <p:grpSpPr>
        <a:xfrm>
          <a:off x="0" y="0"/>
          <a:ext cx="0" cy="0"/>
          <a:chOff x="0" y="0"/>
          <a:chExt cx="0" cy="0"/>
        </a:xfrm>
      </p:grpSpPr>
      <p:sp>
        <p:nvSpPr>
          <p:cNvPr id="7" name="Content Placeholder 8">
            <a:extLst>
              <a:ext uri="{FF2B5EF4-FFF2-40B4-BE49-F238E27FC236}">
                <a16:creationId xmlns:a16="http://schemas.microsoft.com/office/drawing/2014/main" id="{B3EBD072-0AC0-4741-9B32-98B140FCE26F}"/>
              </a:ext>
            </a:extLst>
          </p:cNvPr>
          <p:cNvSpPr>
            <a:spLocks noGrp="1"/>
          </p:cNvSpPr>
          <p:nvPr>
            <p:ph idx="1"/>
          </p:nvPr>
        </p:nvSpPr>
        <p:spPr>
          <a:xfrm>
            <a:off x="854932" y="3200401"/>
            <a:ext cx="6287942" cy="2924565"/>
          </a:xfrm>
        </p:spPr>
        <p:txBody>
          <a:bodyPr>
            <a:normAutofit/>
          </a:bodyPr>
          <a:lstStyle>
            <a:lvl1pPr>
              <a:defRPr baseline="0">
                <a:latin typeface="Roboto" panose="02000000000000000000" pitchFamily="2" charset="0"/>
              </a:defRPr>
            </a:lvl1pPr>
          </a:lstStyle>
          <a:p>
            <a:pPr marL="0" lvl="0" indent="0">
              <a:buNone/>
            </a:pPr>
            <a:r>
              <a:rPr lang="en-GB"/>
              <a:t>Click to edit Master text styles</a:t>
            </a:r>
          </a:p>
        </p:txBody>
      </p:sp>
      <p:cxnSp>
        <p:nvCxnSpPr>
          <p:cNvPr id="8" name="Rak 9">
            <a:extLst>
              <a:ext uri="{FF2B5EF4-FFF2-40B4-BE49-F238E27FC236}">
                <a16:creationId xmlns:a16="http://schemas.microsoft.com/office/drawing/2014/main" id="{A674B7AF-A09F-634E-ADA3-F0F26C90A7DD}"/>
              </a:ext>
            </a:extLst>
          </p:cNvPr>
          <p:cNvCxnSpPr>
            <a:cxnSpLocks/>
          </p:cNvCxnSpPr>
          <p:nvPr/>
        </p:nvCxnSpPr>
        <p:spPr>
          <a:xfrm flipH="1">
            <a:off x="1248032" y="2729510"/>
            <a:ext cx="1853514"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9" name="Rektangel 5">
            <a:extLst>
              <a:ext uri="{FF2B5EF4-FFF2-40B4-BE49-F238E27FC236}">
                <a16:creationId xmlns:a16="http://schemas.microsoft.com/office/drawing/2014/main" id="{5E4A4986-A2DE-1247-8373-E5CB600E834C}"/>
              </a:ext>
            </a:extLst>
          </p:cNvPr>
          <p:cNvSpPr/>
          <p:nvPr/>
        </p:nvSpPr>
        <p:spPr>
          <a:xfrm>
            <a:off x="0" y="0"/>
            <a:ext cx="18535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1" name="Rak 9">
            <a:extLst>
              <a:ext uri="{FF2B5EF4-FFF2-40B4-BE49-F238E27FC236}">
                <a16:creationId xmlns:a16="http://schemas.microsoft.com/office/drawing/2014/main" id="{45E98D25-E56F-9642-B9D7-66731D4B5052}"/>
              </a:ext>
            </a:extLst>
          </p:cNvPr>
          <p:cNvCxnSpPr>
            <a:cxnSpLocks/>
          </p:cNvCxnSpPr>
          <p:nvPr/>
        </p:nvCxnSpPr>
        <p:spPr>
          <a:xfrm flipH="1">
            <a:off x="990857" y="2729510"/>
            <a:ext cx="1853514"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12" name="Rektangel 5">
            <a:extLst>
              <a:ext uri="{FF2B5EF4-FFF2-40B4-BE49-F238E27FC236}">
                <a16:creationId xmlns:a16="http://schemas.microsoft.com/office/drawing/2014/main" id="{3B41F1CB-338A-4240-A4E1-6BC3E329D2A4}"/>
              </a:ext>
            </a:extLst>
          </p:cNvPr>
          <p:cNvSpPr/>
          <p:nvPr/>
        </p:nvSpPr>
        <p:spPr>
          <a:xfrm>
            <a:off x="0" y="0"/>
            <a:ext cx="18535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 Placeholder 2">
            <a:extLst>
              <a:ext uri="{FF2B5EF4-FFF2-40B4-BE49-F238E27FC236}">
                <a16:creationId xmlns:a16="http://schemas.microsoft.com/office/drawing/2014/main" id="{E5B54F29-07BC-684F-9678-8E14C8C7155A}"/>
              </a:ext>
            </a:extLst>
          </p:cNvPr>
          <p:cNvSpPr>
            <a:spLocks noGrp="1"/>
          </p:cNvSpPr>
          <p:nvPr>
            <p:ph type="body" sz="quarter" idx="10"/>
          </p:nvPr>
        </p:nvSpPr>
        <p:spPr>
          <a:xfrm>
            <a:off x="854932" y="800104"/>
            <a:ext cx="6286500" cy="1703486"/>
          </a:xfrm>
        </p:spPr>
        <p:txBody>
          <a:bodyPr/>
          <a:lstStyle>
            <a:lvl1pPr>
              <a:defRPr baseline="0">
                <a:latin typeface="Roboto" panose="02000000000000000000" pitchFamily="2" charset="0"/>
              </a:defRPr>
            </a:lvl1pPr>
          </a:lstStyle>
          <a:p>
            <a:pPr lvl="0"/>
            <a:r>
              <a:rPr lang="en-GB"/>
              <a:t>Click to edit Master text styles</a:t>
            </a:r>
          </a:p>
        </p:txBody>
      </p:sp>
      <p:pic>
        <p:nvPicPr>
          <p:cNvPr id="13" name="Bild 4">
            <a:extLst>
              <a:ext uri="{FF2B5EF4-FFF2-40B4-BE49-F238E27FC236}">
                <a16:creationId xmlns:a16="http://schemas.microsoft.com/office/drawing/2014/main" id="{7D271246-6958-5D4A-B0E3-1DCE2B8822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03568" y="6154818"/>
            <a:ext cx="1706359" cy="696963"/>
          </a:xfrm>
          <a:prstGeom prst="rect">
            <a:avLst/>
          </a:prstGeom>
        </p:spPr>
      </p:pic>
    </p:spTree>
    <p:extLst>
      <p:ext uri="{BB962C8B-B14F-4D97-AF65-F5344CB8AC3E}">
        <p14:creationId xmlns:p14="http://schemas.microsoft.com/office/powerpoint/2010/main" val="383262617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ocus photo slide">
    <p:spTree>
      <p:nvGrpSpPr>
        <p:cNvPr id="1" name=""/>
        <p:cNvGrpSpPr/>
        <p:nvPr/>
      </p:nvGrpSpPr>
      <p:grpSpPr>
        <a:xfrm>
          <a:off x="0" y="0"/>
          <a:ext cx="0" cy="0"/>
          <a:chOff x="0" y="0"/>
          <a:chExt cx="0" cy="0"/>
        </a:xfrm>
      </p:grpSpPr>
      <p:sp>
        <p:nvSpPr>
          <p:cNvPr id="7" name="Platshållare för innehåll 13">
            <a:extLst>
              <a:ext uri="{FF2B5EF4-FFF2-40B4-BE49-F238E27FC236}">
                <a16:creationId xmlns:a16="http://schemas.microsoft.com/office/drawing/2014/main" id="{C4DB4342-90F7-A343-AD77-0F2DEF42D381}"/>
              </a:ext>
            </a:extLst>
          </p:cNvPr>
          <p:cNvSpPr>
            <a:spLocks noGrp="1"/>
          </p:cNvSpPr>
          <p:nvPr>
            <p:ph sz="half" idx="1"/>
          </p:nvPr>
        </p:nvSpPr>
        <p:spPr>
          <a:xfrm>
            <a:off x="838200" y="3715866"/>
            <a:ext cx="4302211" cy="2421142"/>
          </a:xfrm>
        </p:spPr>
        <p:txBody>
          <a:bodyPr>
            <a:normAutofit/>
          </a:bodyPr>
          <a:lstStyle/>
          <a:p>
            <a:pPr marL="0" lvl="0" indent="0">
              <a:buNone/>
            </a:pPr>
            <a:r>
              <a:rPr lang="en-GB" sz="2400"/>
              <a:t>Click to edit Master text styles</a:t>
            </a:r>
          </a:p>
        </p:txBody>
      </p:sp>
      <p:pic>
        <p:nvPicPr>
          <p:cNvPr id="8" name="Platshållare för innehåll 20" descr="En bild som visar nära, suddig&#10;&#10;Automatiskt genererad beskrivning">
            <a:extLst>
              <a:ext uri="{FF2B5EF4-FFF2-40B4-BE49-F238E27FC236}">
                <a16:creationId xmlns:a16="http://schemas.microsoft.com/office/drawing/2014/main" id="{6B62C063-B1E0-0E49-80EF-6C98BDD60BD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19800" y="1023785"/>
            <a:ext cx="5208373" cy="5113223"/>
          </a:xfrm>
          <a:prstGeom prst="rect">
            <a:avLst/>
          </a:prstGeom>
        </p:spPr>
      </p:pic>
      <p:cxnSp>
        <p:nvCxnSpPr>
          <p:cNvPr id="9" name="Rak 21">
            <a:extLst>
              <a:ext uri="{FF2B5EF4-FFF2-40B4-BE49-F238E27FC236}">
                <a16:creationId xmlns:a16="http://schemas.microsoft.com/office/drawing/2014/main" id="{DBD07701-FB91-7045-999F-886BE5A00B4F}"/>
              </a:ext>
            </a:extLst>
          </p:cNvPr>
          <p:cNvCxnSpPr>
            <a:cxnSpLocks/>
          </p:cNvCxnSpPr>
          <p:nvPr/>
        </p:nvCxnSpPr>
        <p:spPr>
          <a:xfrm flipH="1">
            <a:off x="963827" y="3117656"/>
            <a:ext cx="1816443"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2" name="Rak 21">
            <a:extLst>
              <a:ext uri="{FF2B5EF4-FFF2-40B4-BE49-F238E27FC236}">
                <a16:creationId xmlns:a16="http://schemas.microsoft.com/office/drawing/2014/main" id="{38FE09F1-7060-1A4A-9F94-3B8A9030BA4E}"/>
              </a:ext>
            </a:extLst>
          </p:cNvPr>
          <p:cNvCxnSpPr>
            <a:cxnSpLocks/>
          </p:cNvCxnSpPr>
          <p:nvPr/>
        </p:nvCxnSpPr>
        <p:spPr>
          <a:xfrm flipH="1">
            <a:off x="963827" y="3117656"/>
            <a:ext cx="1816443"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4832FE4-CFF1-D544-BD53-EBCB5FBFC169}"/>
              </a:ext>
            </a:extLst>
          </p:cNvPr>
          <p:cNvSpPr>
            <a:spLocks noGrp="1"/>
          </p:cNvSpPr>
          <p:nvPr>
            <p:ph sz="quarter" idx="10"/>
          </p:nvPr>
        </p:nvSpPr>
        <p:spPr>
          <a:xfrm>
            <a:off x="838200" y="1095501"/>
            <a:ext cx="4400550" cy="1963140"/>
          </a:xfrm>
        </p:spPr>
        <p:txBody>
          <a:bodyPr/>
          <a:lstStyle>
            <a:lvl1pPr>
              <a:defRPr baseline="0">
                <a:latin typeface="Roboto" panose="02000000000000000000" pitchFamily="2" charset="0"/>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pic>
        <p:nvPicPr>
          <p:cNvPr id="11" name="Bild 4">
            <a:extLst>
              <a:ext uri="{FF2B5EF4-FFF2-40B4-BE49-F238E27FC236}">
                <a16:creationId xmlns:a16="http://schemas.microsoft.com/office/drawing/2014/main" id="{CC6609C4-2293-0247-8D04-9C31D933AF0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503568" y="6154818"/>
            <a:ext cx="1706359" cy="696963"/>
          </a:xfrm>
          <a:prstGeom prst="rect">
            <a:avLst/>
          </a:prstGeom>
        </p:spPr>
      </p:pic>
    </p:spTree>
    <p:extLst>
      <p:ext uri="{BB962C8B-B14F-4D97-AF65-F5344CB8AC3E}">
        <p14:creationId xmlns:p14="http://schemas.microsoft.com/office/powerpoint/2010/main" val="1826536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NA photo slide">
    <p:spTree>
      <p:nvGrpSpPr>
        <p:cNvPr id="1" name=""/>
        <p:cNvGrpSpPr/>
        <p:nvPr/>
      </p:nvGrpSpPr>
      <p:grpSpPr>
        <a:xfrm>
          <a:off x="0" y="0"/>
          <a:ext cx="0" cy="0"/>
          <a:chOff x="0" y="0"/>
          <a:chExt cx="0" cy="0"/>
        </a:xfrm>
      </p:grpSpPr>
      <p:sp useBgFill="1">
        <p:nvSpPr>
          <p:cNvPr id="6" name="Rectangle 5">
            <a:extLst>
              <a:ext uri="{FF2B5EF4-FFF2-40B4-BE49-F238E27FC236}">
                <a16:creationId xmlns:a16="http://schemas.microsoft.com/office/drawing/2014/main" id="{2EDB9597-F764-F842-9C95-4BA6F9D437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ubrik 1">
            <a:extLst>
              <a:ext uri="{FF2B5EF4-FFF2-40B4-BE49-F238E27FC236}">
                <a16:creationId xmlns:a16="http://schemas.microsoft.com/office/drawing/2014/main" id="{CC777858-1CD0-B84E-8511-5581D5CE2C48}"/>
              </a:ext>
            </a:extLst>
          </p:cNvPr>
          <p:cNvSpPr txBox="1">
            <a:spLocks/>
          </p:cNvSpPr>
          <p:nvPr/>
        </p:nvSpPr>
        <p:spPr>
          <a:xfrm>
            <a:off x="838200" y="612860"/>
            <a:ext cx="3622590" cy="23477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base">
              <a:lnSpc>
                <a:spcPct val="100000"/>
              </a:lnSpc>
            </a:pPr>
            <a:r>
              <a:rPr lang="en-AU" sz="3200">
                <a:latin typeface="Roboto" panose="02000000000000000000" pitchFamily="2" charset="0"/>
                <a:ea typeface="Roboto" panose="02000000000000000000" pitchFamily="2" charset="0"/>
              </a:rPr>
              <a:t>Text here</a:t>
            </a:r>
          </a:p>
        </p:txBody>
      </p:sp>
      <p:pic>
        <p:nvPicPr>
          <p:cNvPr id="9" name="Platshållare för innehåll 5" descr="En bild som visar nära&#10;&#10;Automatiskt genererad beskrivning">
            <a:extLst>
              <a:ext uri="{FF2B5EF4-FFF2-40B4-BE49-F238E27FC236}">
                <a16:creationId xmlns:a16="http://schemas.microsoft.com/office/drawing/2014/main" id="{2330577E-5884-5247-8406-2E372495FAA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a:xfrm>
            <a:off x="5010386" y="10"/>
            <a:ext cx="7181613" cy="6857990"/>
          </a:xfrm>
          <a:prstGeom prst="rect">
            <a:avLst/>
          </a:prstGeom>
          <a:effectLst/>
        </p:spPr>
      </p:pic>
      <p:cxnSp>
        <p:nvCxnSpPr>
          <p:cNvPr id="10" name="Rak 7">
            <a:extLst>
              <a:ext uri="{FF2B5EF4-FFF2-40B4-BE49-F238E27FC236}">
                <a16:creationId xmlns:a16="http://schemas.microsoft.com/office/drawing/2014/main" id="{CF18141B-A5CA-D842-B5AE-B2F199DC69B2}"/>
              </a:ext>
            </a:extLst>
          </p:cNvPr>
          <p:cNvCxnSpPr>
            <a:cxnSpLocks/>
          </p:cNvCxnSpPr>
          <p:nvPr/>
        </p:nvCxnSpPr>
        <p:spPr>
          <a:xfrm flipH="1">
            <a:off x="963826" y="2683816"/>
            <a:ext cx="1853514" cy="0"/>
          </a:xfrm>
          <a:prstGeom prst="line">
            <a:avLst/>
          </a:prstGeom>
          <a:ln w="50800"/>
        </p:spPr>
        <p:style>
          <a:lnRef idx="1">
            <a:schemeClr val="accent1"/>
          </a:lnRef>
          <a:fillRef idx="0">
            <a:schemeClr val="accent1"/>
          </a:fillRef>
          <a:effectRef idx="0">
            <a:schemeClr val="accent1"/>
          </a:effectRef>
          <a:fontRef idx="minor">
            <a:schemeClr val="tx1"/>
          </a:fontRef>
        </p:style>
      </p:cxnSp>
      <p:sp useBgFill="1">
        <p:nvSpPr>
          <p:cNvPr id="11" name="Rectangle 10">
            <a:extLst>
              <a:ext uri="{FF2B5EF4-FFF2-40B4-BE49-F238E27FC236}">
                <a16:creationId xmlns:a16="http://schemas.microsoft.com/office/drawing/2014/main" id="{48FA6F65-8D0C-614F-A86E-0FA5F7EF24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latshållare för innehåll 5" descr="En bild som visar nära&#10;&#10;Automatiskt genererad beskrivning">
            <a:extLst>
              <a:ext uri="{FF2B5EF4-FFF2-40B4-BE49-F238E27FC236}">
                <a16:creationId xmlns:a16="http://schemas.microsoft.com/office/drawing/2014/main" id="{839E8018-69FE-564A-87A3-33029E07C3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a:xfrm>
            <a:off x="5010386" y="10"/>
            <a:ext cx="7181613" cy="6857990"/>
          </a:xfrm>
          <a:prstGeom prst="rect">
            <a:avLst/>
          </a:prstGeom>
          <a:effectLst/>
        </p:spPr>
      </p:pic>
      <p:cxnSp>
        <p:nvCxnSpPr>
          <p:cNvPr id="14" name="Rak 7">
            <a:extLst>
              <a:ext uri="{FF2B5EF4-FFF2-40B4-BE49-F238E27FC236}">
                <a16:creationId xmlns:a16="http://schemas.microsoft.com/office/drawing/2014/main" id="{960E3890-964F-594A-8D64-FE8490DFA3A2}"/>
              </a:ext>
            </a:extLst>
          </p:cNvPr>
          <p:cNvCxnSpPr>
            <a:cxnSpLocks/>
          </p:cNvCxnSpPr>
          <p:nvPr/>
        </p:nvCxnSpPr>
        <p:spPr>
          <a:xfrm flipH="1">
            <a:off x="963826" y="2683816"/>
            <a:ext cx="1853514"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CF549595-7D57-8240-8002-4D2547FA8428}"/>
              </a:ext>
            </a:extLst>
          </p:cNvPr>
          <p:cNvSpPr>
            <a:spLocks noGrp="1"/>
          </p:cNvSpPr>
          <p:nvPr>
            <p:ph sz="quarter" idx="10"/>
          </p:nvPr>
        </p:nvSpPr>
        <p:spPr>
          <a:xfrm>
            <a:off x="885824" y="895350"/>
            <a:ext cx="3400425" cy="1714500"/>
          </a:xfrm>
        </p:spPr>
        <p:txBody>
          <a:bodyPr/>
          <a:lstStyle>
            <a:lvl1pPr>
              <a:defRPr baseline="0">
                <a:latin typeface="Roboto" panose="02000000000000000000" pitchFamily="2" charset="0"/>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sp>
        <p:nvSpPr>
          <p:cNvPr id="5" name="Content Placeholder 4">
            <a:extLst>
              <a:ext uri="{FF2B5EF4-FFF2-40B4-BE49-F238E27FC236}">
                <a16:creationId xmlns:a16="http://schemas.microsoft.com/office/drawing/2014/main" id="{68FBBF56-FAF7-FB41-B385-0D7C2AF39334}"/>
              </a:ext>
            </a:extLst>
          </p:cNvPr>
          <p:cNvSpPr>
            <a:spLocks noGrp="1"/>
          </p:cNvSpPr>
          <p:nvPr>
            <p:ph sz="quarter" idx="11"/>
          </p:nvPr>
        </p:nvSpPr>
        <p:spPr>
          <a:xfrm>
            <a:off x="876299" y="3038475"/>
            <a:ext cx="3400426" cy="311467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spTree>
    <p:extLst>
      <p:ext uri="{BB962C8B-B14F-4D97-AF65-F5344CB8AC3E}">
        <p14:creationId xmlns:p14="http://schemas.microsoft.com/office/powerpoint/2010/main" val="2478980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am presentation">
    <p:spTree>
      <p:nvGrpSpPr>
        <p:cNvPr id="1" name=""/>
        <p:cNvGrpSpPr/>
        <p:nvPr/>
      </p:nvGrpSpPr>
      <p:grpSpPr>
        <a:xfrm>
          <a:off x="0" y="0"/>
          <a:ext cx="0" cy="0"/>
          <a:chOff x="0" y="0"/>
          <a:chExt cx="0" cy="0"/>
        </a:xfrm>
      </p:grpSpPr>
      <p:pic>
        <p:nvPicPr>
          <p:cNvPr id="7" name="Platshållare för innehåll 11" descr="En bild som visar vit&#10;&#10;Automatiskt genererad beskrivning">
            <a:extLst>
              <a:ext uri="{FF2B5EF4-FFF2-40B4-BE49-F238E27FC236}">
                <a16:creationId xmlns:a16="http://schemas.microsoft.com/office/drawing/2014/main" id="{BC4F5418-74E3-0244-8256-4281B1C0E5B5}"/>
              </a:ext>
            </a:extLst>
          </p:cNvPr>
          <p:cNvPicPr>
            <a:picLocks noChangeAspect="1"/>
          </p:cNvPicPr>
          <p:nvPr/>
        </p:nvPicPr>
        <p:blipFill>
          <a:blip r:embed="rId2"/>
          <a:stretch>
            <a:fillRect/>
          </a:stretch>
        </p:blipFill>
        <p:spPr>
          <a:xfrm>
            <a:off x="1707099" y="2114871"/>
            <a:ext cx="2628258" cy="2628258"/>
          </a:xfrm>
          <a:prstGeom prst="rect">
            <a:avLst/>
          </a:prstGeom>
        </p:spPr>
      </p:pic>
      <p:pic>
        <p:nvPicPr>
          <p:cNvPr id="8" name="Platshållare för innehåll 13" descr="En bild som visar text, person&#10;&#10;Automatiskt genererad beskrivning">
            <a:extLst>
              <a:ext uri="{FF2B5EF4-FFF2-40B4-BE49-F238E27FC236}">
                <a16:creationId xmlns:a16="http://schemas.microsoft.com/office/drawing/2014/main" id="{C1A0A5BC-9E1E-344A-A3BE-327AE450B3DA}"/>
              </a:ext>
            </a:extLst>
          </p:cNvPr>
          <p:cNvPicPr>
            <a:picLocks noChangeAspect="1"/>
          </p:cNvPicPr>
          <p:nvPr/>
        </p:nvPicPr>
        <p:blipFill>
          <a:blip r:embed="rId3"/>
          <a:stretch>
            <a:fillRect/>
          </a:stretch>
        </p:blipFill>
        <p:spPr>
          <a:xfrm>
            <a:off x="4781871" y="2114871"/>
            <a:ext cx="2628258" cy="2628258"/>
          </a:xfrm>
          <a:prstGeom prst="rect">
            <a:avLst/>
          </a:prstGeom>
        </p:spPr>
      </p:pic>
      <p:pic>
        <p:nvPicPr>
          <p:cNvPr id="12" name="Bildobjekt 15" descr="En bild som visar text, vit&#10;&#10;Automatiskt genererad beskrivning">
            <a:extLst>
              <a:ext uri="{FF2B5EF4-FFF2-40B4-BE49-F238E27FC236}">
                <a16:creationId xmlns:a16="http://schemas.microsoft.com/office/drawing/2014/main" id="{430CF9F2-EA32-A34D-873A-D298D4920902}"/>
              </a:ext>
            </a:extLst>
          </p:cNvPr>
          <p:cNvPicPr>
            <a:picLocks noChangeAspect="1"/>
          </p:cNvPicPr>
          <p:nvPr/>
        </p:nvPicPr>
        <p:blipFill>
          <a:blip r:embed="rId4"/>
          <a:stretch>
            <a:fillRect/>
          </a:stretch>
        </p:blipFill>
        <p:spPr>
          <a:xfrm>
            <a:off x="7856643" y="2114871"/>
            <a:ext cx="2628258" cy="2628258"/>
          </a:xfrm>
          <a:prstGeom prst="rect">
            <a:avLst/>
          </a:prstGeom>
        </p:spPr>
      </p:pic>
      <p:sp>
        <p:nvSpPr>
          <p:cNvPr id="13" name="Rektangel 16">
            <a:extLst>
              <a:ext uri="{FF2B5EF4-FFF2-40B4-BE49-F238E27FC236}">
                <a16:creationId xmlns:a16="http://schemas.microsoft.com/office/drawing/2014/main" id="{5A73108D-EE11-864C-864F-8A2B014F748B}"/>
              </a:ext>
            </a:extLst>
          </p:cNvPr>
          <p:cNvSpPr/>
          <p:nvPr/>
        </p:nvSpPr>
        <p:spPr>
          <a:xfrm>
            <a:off x="1798103" y="4814005"/>
            <a:ext cx="2537254" cy="707886"/>
          </a:xfrm>
          <a:prstGeom prst="rect">
            <a:avLst/>
          </a:prstGeom>
        </p:spPr>
        <p:txBody>
          <a:bodyPr wrap="square">
            <a:spAutoFit/>
          </a:bodyPr>
          <a:lstStyle/>
          <a:p>
            <a:pPr algn="ctr" fontAlgn="base"/>
            <a:r>
              <a:rPr lang="sv-SE" sz="2000">
                <a:solidFill>
                  <a:srgbClr val="333333"/>
                </a:solidFill>
                <a:latin typeface="Roboto Medium" panose="02000000000000000000" pitchFamily="2" charset="0"/>
                <a:ea typeface="Roboto Medium" panose="02000000000000000000" pitchFamily="2" charset="0"/>
              </a:rPr>
              <a:t>Kristina Kannisto</a:t>
            </a:r>
            <a:br>
              <a:rPr lang="sv-SE" sz="2000">
                <a:latin typeface="Roboto Medium" panose="02000000000000000000" pitchFamily="2" charset="0"/>
                <a:ea typeface="Roboto Medium" panose="02000000000000000000" pitchFamily="2" charset="0"/>
              </a:rPr>
            </a:br>
            <a:endParaRPr lang="sv-SE" sz="2000">
              <a:latin typeface="Roboto Medium" panose="02000000000000000000" pitchFamily="2" charset="0"/>
              <a:ea typeface="Roboto Medium" panose="02000000000000000000" pitchFamily="2" charset="0"/>
            </a:endParaRPr>
          </a:p>
        </p:txBody>
      </p:sp>
      <p:sp>
        <p:nvSpPr>
          <p:cNvPr id="14" name="Rektangel 17">
            <a:extLst>
              <a:ext uri="{FF2B5EF4-FFF2-40B4-BE49-F238E27FC236}">
                <a16:creationId xmlns:a16="http://schemas.microsoft.com/office/drawing/2014/main" id="{6EC0A73D-6849-6540-AED4-2ED67B9BF192}"/>
              </a:ext>
            </a:extLst>
          </p:cNvPr>
          <p:cNvSpPr/>
          <p:nvPr/>
        </p:nvSpPr>
        <p:spPr>
          <a:xfrm>
            <a:off x="4763725" y="4814005"/>
            <a:ext cx="2537254" cy="400110"/>
          </a:xfrm>
          <a:prstGeom prst="rect">
            <a:avLst/>
          </a:prstGeom>
        </p:spPr>
        <p:txBody>
          <a:bodyPr wrap="square">
            <a:spAutoFit/>
          </a:bodyPr>
          <a:lstStyle/>
          <a:p>
            <a:pPr algn="ctr" fontAlgn="base"/>
            <a:r>
              <a:rPr lang="sv-SE" sz="2000">
                <a:latin typeface="Roboto Medium" panose="02000000000000000000" pitchFamily="2" charset="0"/>
                <a:ea typeface="Roboto Medium" panose="02000000000000000000" pitchFamily="2" charset="0"/>
              </a:rPr>
              <a:t>Jukka </a:t>
            </a:r>
            <a:r>
              <a:rPr lang="sv-SE" sz="2000" err="1">
                <a:latin typeface="Roboto Medium" panose="02000000000000000000" pitchFamily="2" charset="0"/>
                <a:ea typeface="Roboto Medium" panose="02000000000000000000" pitchFamily="2" charset="0"/>
              </a:rPr>
              <a:t>Lausmaa</a:t>
            </a:r>
            <a:endParaRPr lang="sv-SE" sz="2000">
              <a:latin typeface="Roboto Medium" panose="02000000000000000000" pitchFamily="2" charset="0"/>
              <a:ea typeface="Roboto Medium" panose="02000000000000000000" pitchFamily="2" charset="0"/>
            </a:endParaRPr>
          </a:p>
        </p:txBody>
      </p:sp>
      <p:sp>
        <p:nvSpPr>
          <p:cNvPr id="15" name="Rektangel 18">
            <a:extLst>
              <a:ext uri="{FF2B5EF4-FFF2-40B4-BE49-F238E27FC236}">
                <a16:creationId xmlns:a16="http://schemas.microsoft.com/office/drawing/2014/main" id="{8F1587ED-9BB2-CE46-BD8B-8CD9485002FA}"/>
              </a:ext>
            </a:extLst>
          </p:cNvPr>
          <p:cNvSpPr/>
          <p:nvPr/>
        </p:nvSpPr>
        <p:spPr>
          <a:xfrm>
            <a:off x="7939412" y="4814005"/>
            <a:ext cx="2537254" cy="400110"/>
          </a:xfrm>
          <a:prstGeom prst="rect">
            <a:avLst/>
          </a:prstGeom>
        </p:spPr>
        <p:txBody>
          <a:bodyPr wrap="square">
            <a:spAutoFit/>
          </a:bodyPr>
          <a:lstStyle/>
          <a:p>
            <a:pPr algn="ctr" fontAlgn="base"/>
            <a:r>
              <a:rPr lang="sv-SE" sz="2000">
                <a:latin typeface="Roboto Medium" panose="02000000000000000000" pitchFamily="2" charset="0"/>
                <a:ea typeface="Roboto Medium" panose="02000000000000000000" pitchFamily="2" charset="0"/>
              </a:rPr>
              <a:t>Heather Main</a:t>
            </a:r>
          </a:p>
        </p:txBody>
      </p:sp>
      <p:sp>
        <p:nvSpPr>
          <p:cNvPr id="16" name="Rektangel 19">
            <a:extLst>
              <a:ext uri="{FF2B5EF4-FFF2-40B4-BE49-F238E27FC236}">
                <a16:creationId xmlns:a16="http://schemas.microsoft.com/office/drawing/2014/main" id="{D7F29132-5BB1-754B-87CC-6606C266A261}"/>
              </a:ext>
            </a:extLst>
          </p:cNvPr>
          <p:cNvSpPr/>
          <p:nvPr/>
        </p:nvSpPr>
        <p:spPr>
          <a:xfrm>
            <a:off x="1787418" y="5220408"/>
            <a:ext cx="2537254" cy="338554"/>
          </a:xfrm>
          <a:prstGeom prst="rect">
            <a:avLst/>
          </a:prstGeom>
        </p:spPr>
        <p:txBody>
          <a:bodyPr wrap="square">
            <a:spAutoFit/>
          </a:bodyPr>
          <a:lstStyle/>
          <a:p>
            <a:pPr algn="ctr" fontAlgn="base"/>
            <a:r>
              <a:rPr lang="sv-SE" sz="1600" err="1">
                <a:solidFill>
                  <a:schemeClr val="accent6">
                    <a:lumMod val="50000"/>
                  </a:schemeClr>
                </a:solidFill>
                <a:latin typeface="Roboto" panose="02000000000000000000" pitchFamily="2" charset="0"/>
              </a:rPr>
              <a:t>Swelife</a:t>
            </a:r>
            <a:r>
              <a:rPr lang="sv-SE" sz="1600">
                <a:solidFill>
                  <a:schemeClr val="accent6">
                    <a:lumMod val="50000"/>
                  </a:schemeClr>
                </a:solidFill>
                <a:latin typeface="Roboto" panose="02000000000000000000" pitchFamily="2" charset="0"/>
              </a:rPr>
              <a:t>-ATMP/CAMP</a:t>
            </a:r>
          </a:p>
        </p:txBody>
      </p:sp>
      <p:sp>
        <p:nvSpPr>
          <p:cNvPr id="17" name="Rektangel 20">
            <a:extLst>
              <a:ext uri="{FF2B5EF4-FFF2-40B4-BE49-F238E27FC236}">
                <a16:creationId xmlns:a16="http://schemas.microsoft.com/office/drawing/2014/main" id="{5B4613B0-9126-794D-BBC1-F966C3B99C47}"/>
              </a:ext>
            </a:extLst>
          </p:cNvPr>
          <p:cNvSpPr/>
          <p:nvPr/>
        </p:nvSpPr>
        <p:spPr>
          <a:xfrm>
            <a:off x="4790110" y="5220408"/>
            <a:ext cx="2537254" cy="338554"/>
          </a:xfrm>
          <a:prstGeom prst="rect">
            <a:avLst/>
          </a:prstGeom>
        </p:spPr>
        <p:txBody>
          <a:bodyPr wrap="square">
            <a:spAutoFit/>
          </a:bodyPr>
          <a:lstStyle/>
          <a:p>
            <a:pPr algn="ctr" fontAlgn="base"/>
            <a:r>
              <a:rPr lang="sv-SE" sz="1600">
                <a:solidFill>
                  <a:schemeClr val="accent6">
                    <a:lumMod val="50000"/>
                  </a:schemeClr>
                </a:solidFill>
                <a:latin typeface="Roboto" panose="02000000000000000000" pitchFamily="2" charset="0"/>
              </a:rPr>
              <a:t>ATMP Innovations </a:t>
            </a:r>
            <a:r>
              <a:rPr lang="sv-SE" sz="1600" err="1">
                <a:solidFill>
                  <a:schemeClr val="accent6">
                    <a:lumMod val="50000"/>
                  </a:schemeClr>
                </a:solidFill>
                <a:latin typeface="Roboto" panose="02000000000000000000" pitchFamily="2" charset="0"/>
              </a:rPr>
              <a:t>Milieu</a:t>
            </a:r>
            <a:endParaRPr lang="sv-SE" sz="1600">
              <a:solidFill>
                <a:schemeClr val="accent6">
                  <a:lumMod val="50000"/>
                </a:schemeClr>
              </a:solidFill>
              <a:latin typeface="Roboto" panose="02000000000000000000" pitchFamily="2" charset="0"/>
            </a:endParaRPr>
          </a:p>
        </p:txBody>
      </p:sp>
      <p:sp>
        <p:nvSpPr>
          <p:cNvPr id="18" name="Rektangel 21">
            <a:extLst>
              <a:ext uri="{FF2B5EF4-FFF2-40B4-BE49-F238E27FC236}">
                <a16:creationId xmlns:a16="http://schemas.microsoft.com/office/drawing/2014/main" id="{2390B873-771D-B741-AEFC-A5858A4654D0}"/>
              </a:ext>
            </a:extLst>
          </p:cNvPr>
          <p:cNvSpPr/>
          <p:nvPr/>
        </p:nvSpPr>
        <p:spPr>
          <a:xfrm>
            <a:off x="7904013" y="5220408"/>
            <a:ext cx="2537254" cy="338554"/>
          </a:xfrm>
          <a:prstGeom prst="rect">
            <a:avLst/>
          </a:prstGeom>
        </p:spPr>
        <p:txBody>
          <a:bodyPr wrap="square">
            <a:spAutoFit/>
          </a:bodyPr>
          <a:lstStyle/>
          <a:p>
            <a:pPr algn="ctr" fontAlgn="base"/>
            <a:r>
              <a:rPr lang="sv-SE" sz="1600">
                <a:solidFill>
                  <a:schemeClr val="accent6">
                    <a:lumMod val="50000"/>
                  </a:schemeClr>
                </a:solidFill>
                <a:latin typeface="Roboto" panose="02000000000000000000" pitchFamily="2" charset="0"/>
              </a:rPr>
              <a:t>Communications</a:t>
            </a:r>
          </a:p>
        </p:txBody>
      </p:sp>
      <p:pic>
        <p:nvPicPr>
          <p:cNvPr id="20" name="Platshållare för innehåll 11" descr="En bild som visar vit&#10;&#10;Automatiskt genererad beskrivning">
            <a:extLst>
              <a:ext uri="{FF2B5EF4-FFF2-40B4-BE49-F238E27FC236}">
                <a16:creationId xmlns:a16="http://schemas.microsoft.com/office/drawing/2014/main" id="{57941A90-2362-4D40-B4FD-3BB7375F7B95}"/>
              </a:ext>
            </a:extLst>
          </p:cNvPr>
          <p:cNvPicPr>
            <a:picLocks noChangeAspect="1"/>
          </p:cNvPicPr>
          <p:nvPr/>
        </p:nvPicPr>
        <p:blipFill>
          <a:blip r:embed="rId2"/>
          <a:stretch>
            <a:fillRect/>
          </a:stretch>
        </p:blipFill>
        <p:spPr>
          <a:xfrm>
            <a:off x="1707099" y="2114871"/>
            <a:ext cx="2628258" cy="2628258"/>
          </a:xfrm>
          <a:prstGeom prst="rect">
            <a:avLst/>
          </a:prstGeom>
        </p:spPr>
      </p:pic>
      <p:pic>
        <p:nvPicPr>
          <p:cNvPr id="21" name="Platshållare för innehåll 13" descr="En bild som visar text, person&#10;&#10;Automatiskt genererad beskrivning">
            <a:extLst>
              <a:ext uri="{FF2B5EF4-FFF2-40B4-BE49-F238E27FC236}">
                <a16:creationId xmlns:a16="http://schemas.microsoft.com/office/drawing/2014/main" id="{5CFF275B-EC5A-3A48-A535-A6C3186856D9}"/>
              </a:ext>
            </a:extLst>
          </p:cNvPr>
          <p:cNvPicPr>
            <a:picLocks noChangeAspect="1"/>
          </p:cNvPicPr>
          <p:nvPr/>
        </p:nvPicPr>
        <p:blipFill>
          <a:blip r:embed="rId3"/>
          <a:stretch>
            <a:fillRect/>
          </a:stretch>
        </p:blipFill>
        <p:spPr>
          <a:xfrm>
            <a:off x="4781871" y="2114871"/>
            <a:ext cx="2628258" cy="2628258"/>
          </a:xfrm>
          <a:prstGeom prst="rect">
            <a:avLst/>
          </a:prstGeom>
        </p:spPr>
      </p:pic>
      <p:pic>
        <p:nvPicPr>
          <p:cNvPr id="23" name="Bildobjekt 15" descr="En bild som visar text, vit&#10;&#10;Automatiskt genererad beskrivning">
            <a:extLst>
              <a:ext uri="{FF2B5EF4-FFF2-40B4-BE49-F238E27FC236}">
                <a16:creationId xmlns:a16="http://schemas.microsoft.com/office/drawing/2014/main" id="{F3168F98-93E5-EC41-A867-601D91740AC3}"/>
              </a:ext>
            </a:extLst>
          </p:cNvPr>
          <p:cNvPicPr>
            <a:picLocks noChangeAspect="1"/>
          </p:cNvPicPr>
          <p:nvPr/>
        </p:nvPicPr>
        <p:blipFill>
          <a:blip r:embed="rId4"/>
          <a:stretch>
            <a:fillRect/>
          </a:stretch>
        </p:blipFill>
        <p:spPr>
          <a:xfrm>
            <a:off x="7856643" y="2114871"/>
            <a:ext cx="2628258" cy="2628258"/>
          </a:xfrm>
          <a:prstGeom prst="rect">
            <a:avLst/>
          </a:prstGeom>
        </p:spPr>
      </p:pic>
      <p:sp>
        <p:nvSpPr>
          <p:cNvPr id="24" name="Rektangel 16">
            <a:extLst>
              <a:ext uri="{FF2B5EF4-FFF2-40B4-BE49-F238E27FC236}">
                <a16:creationId xmlns:a16="http://schemas.microsoft.com/office/drawing/2014/main" id="{489BC949-36D1-0648-A991-DC9E05C98C28}"/>
              </a:ext>
            </a:extLst>
          </p:cNvPr>
          <p:cNvSpPr/>
          <p:nvPr/>
        </p:nvSpPr>
        <p:spPr>
          <a:xfrm>
            <a:off x="1798103" y="4814005"/>
            <a:ext cx="2537254" cy="707886"/>
          </a:xfrm>
          <a:prstGeom prst="rect">
            <a:avLst/>
          </a:prstGeom>
        </p:spPr>
        <p:txBody>
          <a:bodyPr wrap="square">
            <a:spAutoFit/>
          </a:bodyPr>
          <a:lstStyle/>
          <a:p>
            <a:pPr algn="ctr" fontAlgn="base"/>
            <a:r>
              <a:rPr lang="sv-SE" sz="2000">
                <a:solidFill>
                  <a:srgbClr val="333333"/>
                </a:solidFill>
                <a:latin typeface="Roboto Medium" panose="02000000000000000000" pitchFamily="2" charset="0"/>
                <a:ea typeface="Roboto Medium" panose="02000000000000000000" pitchFamily="2" charset="0"/>
              </a:rPr>
              <a:t>Kristina Kannisto</a:t>
            </a:r>
            <a:br>
              <a:rPr lang="sv-SE" sz="2000">
                <a:latin typeface="Roboto Medium" panose="02000000000000000000" pitchFamily="2" charset="0"/>
                <a:ea typeface="Roboto Medium" panose="02000000000000000000" pitchFamily="2" charset="0"/>
              </a:rPr>
            </a:br>
            <a:endParaRPr lang="sv-SE" sz="2000">
              <a:latin typeface="Roboto Medium" panose="02000000000000000000" pitchFamily="2" charset="0"/>
              <a:ea typeface="Roboto Medium" panose="02000000000000000000" pitchFamily="2" charset="0"/>
            </a:endParaRPr>
          </a:p>
        </p:txBody>
      </p:sp>
      <p:sp>
        <p:nvSpPr>
          <p:cNvPr id="25" name="Rektangel 17">
            <a:extLst>
              <a:ext uri="{FF2B5EF4-FFF2-40B4-BE49-F238E27FC236}">
                <a16:creationId xmlns:a16="http://schemas.microsoft.com/office/drawing/2014/main" id="{A9942A03-2C50-3643-A78E-9FB05EAD8E77}"/>
              </a:ext>
            </a:extLst>
          </p:cNvPr>
          <p:cNvSpPr/>
          <p:nvPr/>
        </p:nvSpPr>
        <p:spPr>
          <a:xfrm>
            <a:off x="4763725" y="4814005"/>
            <a:ext cx="2537254" cy="400110"/>
          </a:xfrm>
          <a:prstGeom prst="rect">
            <a:avLst/>
          </a:prstGeom>
        </p:spPr>
        <p:txBody>
          <a:bodyPr wrap="square">
            <a:spAutoFit/>
          </a:bodyPr>
          <a:lstStyle/>
          <a:p>
            <a:pPr algn="ctr" fontAlgn="base"/>
            <a:r>
              <a:rPr lang="sv-SE" sz="2000">
                <a:latin typeface="Roboto Medium" panose="02000000000000000000" pitchFamily="2" charset="0"/>
                <a:ea typeface="Roboto Medium" panose="02000000000000000000" pitchFamily="2" charset="0"/>
              </a:rPr>
              <a:t>Jukka </a:t>
            </a:r>
            <a:r>
              <a:rPr lang="sv-SE" sz="2000" err="1">
                <a:latin typeface="Roboto Medium" panose="02000000000000000000" pitchFamily="2" charset="0"/>
                <a:ea typeface="Roboto Medium" panose="02000000000000000000" pitchFamily="2" charset="0"/>
              </a:rPr>
              <a:t>Lausmaa</a:t>
            </a:r>
            <a:endParaRPr lang="sv-SE" sz="2000">
              <a:latin typeface="Roboto Medium" panose="02000000000000000000" pitchFamily="2" charset="0"/>
              <a:ea typeface="Roboto Medium" panose="02000000000000000000" pitchFamily="2" charset="0"/>
            </a:endParaRPr>
          </a:p>
        </p:txBody>
      </p:sp>
      <p:sp>
        <p:nvSpPr>
          <p:cNvPr id="26" name="Rektangel 18">
            <a:extLst>
              <a:ext uri="{FF2B5EF4-FFF2-40B4-BE49-F238E27FC236}">
                <a16:creationId xmlns:a16="http://schemas.microsoft.com/office/drawing/2014/main" id="{5B5D842B-8242-734F-9C63-AA52A373D0E6}"/>
              </a:ext>
            </a:extLst>
          </p:cNvPr>
          <p:cNvSpPr/>
          <p:nvPr/>
        </p:nvSpPr>
        <p:spPr>
          <a:xfrm>
            <a:off x="7939412" y="4814005"/>
            <a:ext cx="2537254" cy="400110"/>
          </a:xfrm>
          <a:prstGeom prst="rect">
            <a:avLst/>
          </a:prstGeom>
        </p:spPr>
        <p:txBody>
          <a:bodyPr wrap="square">
            <a:spAutoFit/>
          </a:bodyPr>
          <a:lstStyle/>
          <a:p>
            <a:pPr algn="ctr" fontAlgn="base"/>
            <a:r>
              <a:rPr lang="sv-SE" sz="2000">
                <a:latin typeface="Roboto Medium" panose="02000000000000000000" pitchFamily="2" charset="0"/>
                <a:ea typeface="Roboto Medium" panose="02000000000000000000" pitchFamily="2" charset="0"/>
              </a:rPr>
              <a:t>Heather Main</a:t>
            </a:r>
          </a:p>
        </p:txBody>
      </p:sp>
      <p:sp>
        <p:nvSpPr>
          <p:cNvPr id="27" name="Rektangel 19">
            <a:extLst>
              <a:ext uri="{FF2B5EF4-FFF2-40B4-BE49-F238E27FC236}">
                <a16:creationId xmlns:a16="http://schemas.microsoft.com/office/drawing/2014/main" id="{8CAFFF87-C5EC-E648-B641-3367745A393A}"/>
              </a:ext>
            </a:extLst>
          </p:cNvPr>
          <p:cNvSpPr/>
          <p:nvPr/>
        </p:nvSpPr>
        <p:spPr>
          <a:xfrm>
            <a:off x="1787418" y="5220408"/>
            <a:ext cx="2537254" cy="338554"/>
          </a:xfrm>
          <a:prstGeom prst="rect">
            <a:avLst/>
          </a:prstGeom>
        </p:spPr>
        <p:txBody>
          <a:bodyPr wrap="square">
            <a:spAutoFit/>
          </a:bodyPr>
          <a:lstStyle/>
          <a:p>
            <a:pPr algn="ctr" fontAlgn="base"/>
            <a:r>
              <a:rPr lang="sv-SE" sz="1600" err="1">
                <a:solidFill>
                  <a:schemeClr val="accent6">
                    <a:lumMod val="50000"/>
                  </a:schemeClr>
                </a:solidFill>
                <a:latin typeface="Roboto" panose="02000000000000000000" pitchFamily="2" charset="0"/>
              </a:rPr>
              <a:t>Swelife</a:t>
            </a:r>
            <a:r>
              <a:rPr lang="sv-SE" sz="1600">
                <a:solidFill>
                  <a:schemeClr val="accent6">
                    <a:lumMod val="50000"/>
                  </a:schemeClr>
                </a:solidFill>
                <a:latin typeface="Roboto" panose="02000000000000000000" pitchFamily="2" charset="0"/>
              </a:rPr>
              <a:t>-ATMP/CAMP</a:t>
            </a:r>
          </a:p>
        </p:txBody>
      </p:sp>
      <p:sp>
        <p:nvSpPr>
          <p:cNvPr id="28" name="Rektangel 20">
            <a:extLst>
              <a:ext uri="{FF2B5EF4-FFF2-40B4-BE49-F238E27FC236}">
                <a16:creationId xmlns:a16="http://schemas.microsoft.com/office/drawing/2014/main" id="{2BFA04DB-7614-404A-B084-7E15D1580195}"/>
              </a:ext>
            </a:extLst>
          </p:cNvPr>
          <p:cNvSpPr/>
          <p:nvPr/>
        </p:nvSpPr>
        <p:spPr>
          <a:xfrm>
            <a:off x="4790110" y="5220408"/>
            <a:ext cx="2537254" cy="338554"/>
          </a:xfrm>
          <a:prstGeom prst="rect">
            <a:avLst/>
          </a:prstGeom>
        </p:spPr>
        <p:txBody>
          <a:bodyPr wrap="square">
            <a:spAutoFit/>
          </a:bodyPr>
          <a:lstStyle/>
          <a:p>
            <a:pPr algn="ctr" fontAlgn="base"/>
            <a:r>
              <a:rPr lang="sv-SE" sz="1600">
                <a:solidFill>
                  <a:schemeClr val="accent6">
                    <a:lumMod val="50000"/>
                  </a:schemeClr>
                </a:solidFill>
                <a:latin typeface="Roboto" panose="02000000000000000000" pitchFamily="2" charset="0"/>
              </a:rPr>
              <a:t>ATMP Innovations </a:t>
            </a:r>
            <a:r>
              <a:rPr lang="sv-SE" sz="1600" err="1">
                <a:solidFill>
                  <a:schemeClr val="accent6">
                    <a:lumMod val="50000"/>
                  </a:schemeClr>
                </a:solidFill>
                <a:latin typeface="Roboto" panose="02000000000000000000" pitchFamily="2" charset="0"/>
              </a:rPr>
              <a:t>Milieu</a:t>
            </a:r>
            <a:endParaRPr lang="sv-SE" sz="1600">
              <a:solidFill>
                <a:schemeClr val="accent6">
                  <a:lumMod val="50000"/>
                </a:schemeClr>
              </a:solidFill>
              <a:latin typeface="Roboto" panose="02000000000000000000" pitchFamily="2" charset="0"/>
            </a:endParaRPr>
          </a:p>
        </p:txBody>
      </p:sp>
      <p:sp>
        <p:nvSpPr>
          <p:cNvPr id="29" name="Rektangel 21">
            <a:extLst>
              <a:ext uri="{FF2B5EF4-FFF2-40B4-BE49-F238E27FC236}">
                <a16:creationId xmlns:a16="http://schemas.microsoft.com/office/drawing/2014/main" id="{091F6981-392E-E64C-9DB7-1B13D85F7557}"/>
              </a:ext>
            </a:extLst>
          </p:cNvPr>
          <p:cNvSpPr/>
          <p:nvPr/>
        </p:nvSpPr>
        <p:spPr>
          <a:xfrm>
            <a:off x="7904013" y="5220408"/>
            <a:ext cx="2537254" cy="338554"/>
          </a:xfrm>
          <a:prstGeom prst="rect">
            <a:avLst/>
          </a:prstGeom>
        </p:spPr>
        <p:txBody>
          <a:bodyPr wrap="square">
            <a:spAutoFit/>
          </a:bodyPr>
          <a:lstStyle/>
          <a:p>
            <a:pPr algn="ctr" fontAlgn="base"/>
            <a:r>
              <a:rPr lang="sv-SE" sz="1600">
                <a:solidFill>
                  <a:schemeClr val="accent6">
                    <a:lumMod val="50000"/>
                  </a:schemeClr>
                </a:solidFill>
                <a:latin typeface="Roboto" panose="02000000000000000000" pitchFamily="2" charset="0"/>
              </a:rPr>
              <a:t>Communications</a:t>
            </a:r>
          </a:p>
        </p:txBody>
      </p:sp>
      <p:sp>
        <p:nvSpPr>
          <p:cNvPr id="4" name="Title 3">
            <a:extLst>
              <a:ext uri="{FF2B5EF4-FFF2-40B4-BE49-F238E27FC236}">
                <a16:creationId xmlns:a16="http://schemas.microsoft.com/office/drawing/2014/main" id="{0A01B3FF-423C-934B-AC3B-7C2B7306F8AA}"/>
              </a:ext>
            </a:extLst>
          </p:cNvPr>
          <p:cNvSpPr>
            <a:spLocks noGrp="1"/>
          </p:cNvSpPr>
          <p:nvPr>
            <p:ph type="title"/>
          </p:nvPr>
        </p:nvSpPr>
        <p:spPr/>
        <p:txBody>
          <a:bodyPr>
            <a:normAutofit/>
          </a:bodyPr>
          <a:lstStyle>
            <a:lvl1pPr>
              <a:defRPr sz="4000" baseline="0"/>
            </a:lvl1pPr>
          </a:lstStyle>
          <a:p>
            <a:r>
              <a:rPr lang="en-GB"/>
              <a:t>Click to edit Master title style</a:t>
            </a:r>
            <a:endParaRPr lang="en-SE"/>
          </a:p>
        </p:txBody>
      </p:sp>
      <p:pic>
        <p:nvPicPr>
          <p:cNvPr id="31" name="Bild 4">
            <a:extLst>
              <a:ext uri="{FF2B5EF4-FFF2-40B4-BE49-F238E27FC236}">
                <a16:creationId xmlns:a16="http://schemas.microsoft.com/office/drawing/2014/main" id="{13BDCD67-583B-4747-AAE3-B2AF458E4D4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503568" y="6154818"/>
            <a:ext cx="1706359" cy="696963"/>
          </a:xfrm>
          <a:prstGeom prst="rect">
            <a:avLst/>
          </a:prstGeom>
        </p:spPr>
      </p:pic>
      <p:cxnSp>
        <p:nvCxnSpPr>
          <p:cNvPr id="33" name="Rak 12">
            <a:extLst>
              <a:ext uri="{FF2B5EF4-FFF2-40B4-BE49-F238E27FC236}">
                <a16:creationId xmlns:a16="http://schemas.microsoft.com/office/drawing/2014/main" id="{964C1A8F-DA8A-FD48-BD20-BD1B624470D3}"/>
              </a:ext>
            </a:extLst>
          </p:cNvPr>
          <p:cNvCxnSpPr>
            <a:cxnSpLocks/>
          </p:cNvCxnSpPr>
          <p:nvPr userDrawn="1"/>
        </p:nvCxnSpPr>
        <p:spPr>
          <a:xfrm flipH="1">
            <a:off x="939114" y="1696102"/>
            <a:ext cx="1754659"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7684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7" name="Platshållare för innehåll 5">
            <a:extLst>
              <a:ext uri="{FF2B5EF4-FFF2-40B4-BE49-F238E27FC236}">
                <a16:creationId xmlns:a16="http://schemas.microsoft.com/office/drawing/2014/main" id="{7DB9158D-0C6F-5941-9533-0CD241193863}"/>
              </a:ext>
            </a:extLst>
          </p:cNvPr>
          <p:cNvSpPr>
            <a:spLocks noGrp="1"/>
          </p:cNvSpPr>
          <p:nvPr>
            <p:ph sz="half" idx="1"/>
          </p:nvPr>
        </p:nvSpPr>
        <p:spPr>
          <a:xfrm>
            <a:off x="838200" y="2331824"/>
            <a:ext cx="4882978" cy="494270"/>
          </a:xfrm>
        </p:spPr>
        <p:txBody>
          <a:bodyPr/>
          <a:lstStyle/>
          <a:p>
            <a:pPr marL="0" lvl="0" indent="0">
              <a:buNone/>
            </a:pPr>
            <a:r>
              <a:rPr lang="en-GB">
                <a:latin typeface="Roboto Medium" panose="02000000000000000000" pitchFamily="2" charset="0"/>
                <a:ea typeface="Roboto Medium" panose="02000000000000000000" pitchFamily="2" charset="0"/>
              </a:rPr>
              <a:t>Click to edit Master text styles</a:t>
            </a:r>
          </a:p>
        </p:txBody>
      </p:sp>
      <p:sp>
        <p:nvSpPr>
          <p:cNvPr id="8" name="Platshållare för innehåll 6">
            <a:extLst>
              <a:ext uri="{FF2B5EF4-FFF2-40B4-BE49-F238E27FC236}">
                <a16:creationId xmlns:a16="http://schemas.microsoft.com/office/drawing/2014/main" id="{899A3F75-6916-764E-9527-E1C81F353AA2}"/>
              </a:ext>
            </a:extLst>
          </p:cNvPr>
          <p:cNvSpPr>
            <a:spLocks noGrp="1"/>
          </p:cNvSpPr>
          <p:nvPr>
            <p:ph sz="half" idx="2"/>
          </p:nvPr>
        </p:nvSpPr>
        <p:spPr>
          <a:xfrm>
            <a:off x="6470822" y="2331824"/>
            <a:ext cx="4882978" cy="494270"/>
          </a:xfrm>
        </p:spPr>
        <p:txBody>
          <a:bodyPr/>
          <a:lstStyle/>
          <a:p>
            <a:pPr marL="0" lvl="0" indent="0">
              <a:buNone/>
            </a:pPr>
            <a:r>
              <a:rPr lang="en-GB">
                <a:latin typeface="Roboto Medium" panose="02000000000000000000" pitchFamily="2" charset="0"/>
                <a:ea typeface="Roboto Medium" panose="02000000000000000000" pitchFamily="2" charset="0"/>
              </a:rPr>
              <a:t>Click to edit Master text styles</a:t>
            </a:r>
          </a:p>
        </p:txBody>
      </p:sp>
      <p:sp>
        <p:nvSpPr>
          <p:cNvPr id="5" name="Title 4">
            <a:extLst>
              <a:ext uri="{FF2B5EF4-FFF2-40B4-BE49-F238E27FC236}">
                <a16:creationId xmlns:a16="http://schemas.microsoft.com/office/drawing/2014/main" id="{34062AF8-04D6-DC4C-BA92-00A4499986E9}"/>
              </a:ext>
            </a:extLst>
          </p:cNvPr>
          <p:cNvSpPr>
            <a:spLocks noGrp="1"/>
          </p:cNvSpPr>
          <p:nvPr>
            <p:ph type="title"/>
          </p:nvPr>
        </p:nvSpPr>
        <p:spPr/>
        <p:txBody>
          <a:bodyPr>
            <a:normAutofit/>
          </a:bodyPr>
          <a:lstStyle>
            <a:lvl1pPr>
              <a:defRPr sz="4000" baseline="0">
                <a:latin typeface="Roboto" panose="02000000000000000000" pitchFamily="2" charset="0"/>
              </a:defRPr>
            </a:lvl1pPr>
          </a:lstStyle>
          <a:p>
            <a:r>
              <a:rPr lang="en-GB"/>
              <a:t>Click to edit Master title style</a:t>
            </a:r>
            <a:endParaRPr lang="en-SE"/>
          </a:p>
        </p:txBody>
      </p:sp>
      <p:sp>
        <p:nvSpPr>
          <p:cNvPr id="17" name="Content Placeholder 16">
            <a:extLst>
              <a:ext uri="{FF2B5EF4-FFF2-40B4-BE49-F238E27FC236}">
                <a16:creationId xmlns:a16="http://schemas.microsoft.com/office/drawing/2014/main" id="{519298BB-A66A-3645-9774-D4F3B55BAD13}"/>
              </a:ext>
            </a:extLst>
          </p:cNvPr>
          <p:cNvSpPr>
            <a:spLocks noGrp="1"/>
          </p:cNvSpPr>
          <p:nvPr>
            <p:ph sz="quarter" idx="10"/>
          </p:nvPr>
        </p:nvSpPr>
        <p:spPr>
          <a:xfrm>
            <a:off x="838200" y="3324225"/>
            <a:ext cx="4883150" cy="2876550"/>
          </a:xfrm>
        </p:spPr>
        <p:txBody>
          <a:bodyPr/>
          <a:lstStyle>
            <a:lvl1pPr>
              <a:defRPr baseline="0">
                <a:latin typeface="Roboto" panose="02000000000000000000" pitchFamily="2" charset="0"/>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sp>
        <p:nvSpPr>
          <p:cNvPr id="18" name="Content Placeholder 16">
            <a:extLst>
              <a:ext uri="{FF2B5EF4-FFF2-40B4-BE49-F238E27FC236}">
                <a16:creationId xmlns:a16="http://schemas.microsoft.com/office/drawing/2014/main" id="{C9483CAC-0E94-D742-8118-1AB4C3B658CD}"/>
              </a:ext>
            </a:extLst>
          </p:cNvPr>
          <p:cNvSpPr>
            <a:spLocks noGrp="1"/>
          </p:cNvSpPr>
          <p:nvPr>
            <p:ph sz="quarter" idx="11"/>
          </p:nvPr>
        </p:nvSpPr>
        <p:spPr>
          <a:xfrm>
            <a:off x="6470736" y="3324225"/>
            <a:ext cx="4883150" cy="2876550"/>
          </a:xfrm>
        </p:spPr>
        <p:txBody>
          <a:bodyPr/>
          <a:lstStyle>
            <a:lvl1pPr>
              <a:defRPr baseline="0">
                <a:latin typeface="Roboto" panose="02000000000000000000" pitchFamily="2" charset="0"/>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pic>
        <p:nvPicPr>
          <p:cNvPr id="12" name="Bild 4">
            <a:extLst>
              <a:ext uri="{FF2B5EF4-FFF2-40B4-BE49-F238E27FC236}">
                <a16:creationId xmlns:a16="http://schemas.microsoft.com/office/drawing/2014/main" id="{2CC9A6F1-F919-684A-B175-7ACCF7D4C9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03568" y="6154818"/>
            <a:ext cx="1706359" cy="696963"/>
          </a:xfrm>
          <a:prstGeom prst="rect">
            <a:avLst/>
          </a:prstGeom>
        </p:spPr>
      </p:pic>
      <p:cxnSp>
        <p:nvCxnSpPr>
          <p:cNvPr id="14" name="Rak 12">
            <a:extLst>
              <a:ext uri="{FF2B5EF4-FFF2-40B4-BE49-F238E27FC236}">
                <a16:creationId xmlns:a16="http://schemas.microsoft.com/office/drawing/2014/main" id="{931408A5-A18D-EE4B-B262-03384D0675FC}"/>
              </a:ext>
            </a:extLst>
          </p:cNvPr>
          <p:cNvCxnSpPr>
            <a:cxnSpLocks/>
          </p:cNvCxnSpPr>
          <p:nvPr userDrawn="1"/>
        </p:nvCxnSpPr>
        <p:spPr>
          <a:xfrm flipH="1">
            <a:off x="939114" y="1696102"/>
            <a:ext cx="1754659"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70749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C589603D-2BD3-7A40-95BA-A2A1EB3ED454}"/>
              </a:ext>
            </a:extLst>
          </p:cNvPr>
          <p:cNvSpPr>
            <a:spLocks noGrp="1"/>
          </p:cNvSpPr>
          <p:nvPr>
            <p:ph sz="quarter" idx="10"/>
          </p:nvPr>
        </p:nvSpPr>
        <p:spPr>
          <a:xfrm>
            <a:off x="838200" y="2847975"/>
            <a:ext cx="2676525" cy="29527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sp>
        <p:nvSpPr>
          <p:cNvPr id="24" name="Content Placeholder 22">
            <a:extLst>
              <a:ext uri="{FF2B5EF4-FFF2-40B4-BE49-F238E27FC236}">
                <a16:creationId xmlns:a16="http://schemas.microsoft.com/office/drawing/2014/main" id="{938AEFFF-E83A-AC4C-A38C-10A8E5F3311E}"/>
              </a:ext>
            </a:extLst>
          </p:cNvPr>
          <p:cNvSpPr>
            <a:spLocks noGrp="1"/>
          </p:cNvSpPr>
          <p:nvPr>
            <p:ph sz="quarter" idx="11"/>
          </p:nvPr>
        </p:nvSpPr>
        <p:spPr>
          <a:xfrm>
            <a:off x="4757737" y="2847975"/>
            <a:ext cx="2676525" cy="29527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sp>
        <p:nvSpPr>
          <p:cNvPr id="25" name="Content Placeholder 22">
            <a:extLst>
              <a:ext uri="{FF2B5EF4-FFF2-40B4-BE49-F238E27FC236}">
                <a16:creationId xmlns:a16="http://schemas.microsoft.com/office/drawing/2014/main" id="{8A4311FB-C68A-4C45-A403-8CFA9034D729}"/>
              </a:ext>
            </a:extLst>
          </p:cNvPr>
          <p:cNvSpPr>
            <a:spLocks noGrp="1"/>
          </p:cNvSpPr>
          <p:nvPr>
            <p:ph sz="quarter" idx="12"/>
          </p:nvPr>
        </p:nvSpPr>
        <p:spPr>
          <a:xfrm>
            <a:off x="8677275" y="2847975"/>
            <a:ext cx="2676525" cy="29527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SE"/>
          </a:p>
        </p:txBody>
      </p:sp>
      <p:sp>
        <p:nvSpPr>
          <p:cNvPr id="27" name="Content Placeholder 26">
            <a:extLst>
              <a:ext uri="{FF2B5EF4-FFF2-40B4-BE49-F238E27FC236}">
                <a16:creationId xmlns:a16="http://schemas.microsoft.com/office/drawing/2014/main" id="{929E02A6-C797-8348-A054-3B61293280DE}"/>
              </a:ext>
            </a:extLst>
          </p:cNvPr>
          <p:cNvSpPr>
            <a:spLocks noGrp="1"/>
          </p:cNvSpPr>
          <p:nvPr>
            <p:ph sz="quarter" idx="13" hasCustomPrompt="1"/>
          </p:nvPr>
        </p:nvSpPr>
        <p:spPr>
          <a:xfrm>
            <a:off x="838200" y="2362200"/>
            <a:ext cx="2676525" cy="485775"/>
          </a:xfrm>
        </p:spPr>
        <p:txBody>
          <a:bodyPr/>
          <a:lstStyle>
            <a:lvl1pPr marL="0" indent="0">
              <a:buNone/>
              <a:defRPr b="1" i="0" baseline="0">
                <a:latin typeface="Roboto" panose="02000000000000000000" pitchFamily="2" charset="0"/>
              </a:defRPr>
            </a:lvl1pPr>
          </a:lstStyle>
          <a:p>
            <a:pPr lvl="0"/>
            <a:r>
              <a:rPr lang="en-GB"/>
              <a:t>Title</a:t>
            </a:r>
            <a:endParaRPr lang="en-SE"/>
          </a:p>
        </p:txBody>
      </p:sp>
      <p:sp>
        <p:nvSpPr>
          <p:cNvPr id="28" name="Content Placeholder 26">
            <a:extLst>
              <a:ext uri="{FF2B5EF4-FFF2-40B4-BE49-F238E27FC236}">
                <a16:creationId xmlns:a16="http://schemas.microsoft.com/office/drawing/2014/main" id="{24AF2A81-A47A-5446-A74A-0411170A71A3}"/>
              </a:ext>
            </a:extLst>
          </p:cNvPr>
          <p:cNvSpPr>
            <a:spLocks noGrp="1"/>
          </p:cNvSpPr>
          <p:nvPr>
            <p:ph sz="quarter" idx="14" hasCustomPrompt="1"/>
          </p:nvPr>
        </p:nvSpPr>
        <p:spPr>
          <a:xfrm>
            <a:off x="4757737" y="2362200"/>
            <a:ext cx="2676525" cy="485775"/>
          </a:xfrm>
        </p:spPr>
        <p:txBody>
          <a:bodyPr/>
          <a:lstStyle>
            <a:lvl1pPr marL="0" indent="0">
              <a:buNone/>
              <a:defRPr b="1" i="0" baseline="0">
                <a:latin typeface="Roboto" panose="02000000000000000000" pitchFamily="2" charset="0"/>
              </a:defRPr>
            </a:lvl1pPr>
          </a:lstStyle>
          <a:p>
            <a:pPr lvl="0"/>
            <a:r>
              <a:rPr lang="en-GB"/>
              <a:t>Title</a:t>
            </a:r>
            <a:endParaRPr lang="en-SE"/>
          </a:p>
        </p:txBody>
      </p:sp>
      <p:sp>
        <p:nvSpPr>
          <p:cNvPr id="29" name="Content Placeholder 26">
            <a:extLst>
              <a:ext uri="{FF2B5EF4-FFF2-40B4-BE49-F238E27FC236}">
                <a16:creationId xmlns:a16="http://schemas.microsoft.com/office/drawing/2014/main" id="{17B2F484-2A7A-774F-ABEC-21C8239D3C83}"/>
              </a:ext>
            </a:extLst>
          </p:cNvPr>
          <p:cNvSpPr>
            <a:spLocks noGrp="1"/>
          </p:cNvSpPr>
          <p:nvPr>
            <p:ph sz="quarter" idx="15" hasCustomPrompt="1"/>
          </p:nvPr>
        </p:nvSpPr>
        <p:spPr>
          <a:xfrm>
            <a:off x="8677275" y="2362199"/>
            <a:ext cx="2676525" cy="485775"/>
          </a:xfrm>
        </p:spPr>
        <p:txBody>
          <a:bodyPr/>
          <a:lstStyle>
            <a:lvl1pPr marL="0" indent="0">
              <a:buNone/>
              <a:defRPr b="1" i="0" baseline="0">
                <a:latin typeface="Roboto" panose="02000000000000000000" pitchFamily="2" charset="0"/>
              </a:defRPr>
            </a:lvl1pPr>
          </a:lstStyle>
          <a:p>
            <a:pPr lvl="0"/>
            <a:r>
              <a:rPr lang="en-GB"/>
              <a:t>Title</a:t>
            </a:r>
            <a:endParaRPr lang="en-SE"/>
          </a:p>
        </p:txBody>
      </p:sp>
      <p:sp>
        <p:nvSpPr>
          <p:cNvPr id="30" name="Title 29">
            <a:extLst>
              <a:ext uri="{FF2B5EF4-FFF2-40B4-BE49-F238E27FC236}">
                <a16:creationId xmlns:a16="http://schemas.microsoft.com/office/drawing/2014/main" id="{0CAB9127-BADE-054E-9A7F-04FDE55D03B9}"/>
              </a:ext>
            </a:extLst>
          </p:cNvPr>
          <p:cNvSpPr>
            <a:spLocks noGrp="1"/>
          </p:cNvSpPr>
          <p:nvPr>
            <p:ph type="title"/>
          </p:nvPr>
        </p:nvSpPr>
        <p:spPr/>
        <p:txBody>
          <a:bodyPr/>
          <a:lstStyle>
            <a:lvl1pPr>
              <a:defRPr sz="4000" baseline="0">
                <a:latin typeface="Roboto" panose="02000000000000000000" pitchFamily="2" charset="0"/>
              </a:defRPr>
            </a:lvl1pPr>
          </a:lstStyle>
          <a:p>
            <a:r>
              <a:rPr lang="en-GB"/>
              <a:t>Click to edit Master title style</a:t>
            </a:r>
            <a:endParaRPr lang="en-SE"/>
          </a:p>
        </p:txBody>
      </p:sp>
      <p:pic>
        <p:nvPicPr>
          <p:cNvPr id="15" name="Bild 4">
            <a:extLst>
              <a:ext uri="{FF2B5EF4-FFF2-40B4-BE49-F238E27FC236}">
                <a16:creationId xmlns:a16="http://schemas.microsoft.com/office/drawing/2014/main" id="{E9AA6900-7F5C-D349-8E4C-1A1F856AB2E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03568" y="6154818"/>
            <a:ext cx="1706359" cy="696963"/>
          </a:xfrm>
          <a:prstGeom prst="rect">
            <a:avLst/>
          </a:prstGeom>
        </p:spPr>
      </p:pic>
      <p:cxnSp>
        <p:nvCxnSpPr>
          <p:cNvPr id="16" name="Rak 12">
            <a:extLst>
              <a:ext uri="{FF2B5EF4-FFF2-40B4-BE49-F238E27FC236}">
                <a16:creationId xmlns:a16="http://schemas.microsoft.com/office/drawing/2014/main" id="{D68A3761-51CB-104C-897E-F8581E310C8B}"/>
              </a:ext>
            </a:extLst>
          </p:cNvPr>
          <p:cNvCxnSpPr>
            <a:cxnSpLocks/>
          </p:cNvCxnSpPr>
          <p:nvPr userDrawn="1"/>
        </p:nvCxnSpPr>
        <p:spPr>
          <a:xfrm flipH="1">
            <a:off x="939114" y="1696102"/>
            <a:ext cx="1754659" cy="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06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B67A6391-C50A-7C47-83BB-597C8A5256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B7AA79BD-4B03-414E-9E4F-E16CA3DCC6D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89C1492F-21CC-B746-B9AB-39E831514C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8F3EB6-098A-420D-9AA7-BFDE6805CDA9}" type="datetimeFigureOut">
              <a:rPr lang="sv-SE" smtClean="0"/>
              <a:t>2022-05-31</a:t>
            </a:fld>
            <a:endParaRPr lang="sv-SE"/>
          </a:p>
        </p:txBody>
      </p:sp>
      <p:sp>
        <p:nvSpPr>
          <p:cNvPr id="5" name="Platshållare för sidfot 4">
            <a:extLst>
              <a:ext uri="{FF2B5EF4-FFF2-40B4-BE49-F238E27FC236}">
                <a16:creationId xmlns:a16="http://schemas.microsoft.com/office/drawing/2014/main" id="{418D4E76-F439-0241-B773-6DD773E4C9F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FF2015F8-1893-A148-9D1B-0D47164D1F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5F8CC0-987B-445B-BE72-B2F92B1EF532}" type="slidenum">
              <a:rPr lang="sv-SE" smtClean="0"/>
              <a:t>‹#›</a:t>
            </a:fld>
            <a:endParaRPr lang="sv-SE"/>
          </a:p>
        </p:txBody>
      </p:sp>
      <p:graphicFrame>
        <p:nvGraphicFramePr>
          <p:cNvPr id="7" name="Objekt 6" hidden="1">
            <a:extLst>
              <a:ext uri="{FF2B5EF4-FFF2-40B4-BE49-F238E27FC236}">
                <a16:creationId xmlns:a16="http://schemas.microsoft.com/office/drawing/2014/main" id="{1445050D-DA84-364C-BD8E-3782C8A0A534}"/>
              </a:ext>
            </a:extLst>
          </p:cNvPr>
          <p:cNvGraphicFramePr>
            <a:graphicFrameLocks noChangeAspect="1"/>
          </p:cNvGraphicFramePr>
          <p:nvPr userDrawn="1">
            <p:custDataLst>
              <p:tags r:id="rId23"/>
            </p:custDataLst>
            <p:extLst>
              <p:ext uri="{D42A27DB-BD31-4B8C-83A1-F6EECF244321}">
                <p14:modId xmlns:p14="http://schemas.microsoft.com/office/powerpoint/2010/main" val="17972986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7" name="Objekt 6" hidden="1">
                        <a:extLst>
                          <a:ext uri="{FF2B5EF4-FFF2-40B4-BE49-F238E27FC236}">
                            <a16:creationId xmlns:a16="http://schemas.microsoft.com/office/drawing/2014/main" id="{1445050D-DA84-364C-BD8E-3782C8A0A534}"/>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87694961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Lst>
  <p:txStyles>
    <p:titleStyle>
      <a:lvl1pPr algn="l" defTabSz="914400" rtl="0" eaLnBrk="1" latinLnBrk="0" hangingPunct="1">
        <a:lnSpc>
          <a:spcPct val="90000"/>
        </a:lnSpc>
        <a:spcBef>
          <a:spcPct val="0"/>
        </a:spcBef>
        <a:buNone/>
        <a:defRPr sz="4400" kern="1200" baseline="0">
          <a:solidFill>
            <a:schemeClr val="tx1"/>
          </a:solidFill>
          <a:latin typeface="Roboto" panose="020000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notesSlide" Target="../notesSlides/notesSlide1.xml"/><Relationship Id="rId7" Type="http://schemas.openxmlformats.org/officeDocument/2006/relationships/image" Target="../media/image11.jpeg"/><Relationship Id="rId2" Type="http://schemas.openxmlformats.org/officeDocument/2006/relationships/slideLayout" Target="../slideLayouts/slideLayout20.xml"/><Relationship Id="rId1" Type="http://schemas.openxmlformats.org/officeDocument/2006/relationships/tags" Target="../tags/tag3.xml"/><Relationship Id="rId6" Type="http://schemas.openxmlformats.org/officeDocument/2006/relationships/image" Target="../media/image10.jpeg"/><Relationship Id="rId11" Type="http://schemas.openxmlformats.org/officeDocument/2006/relationships/image" Target="../media/image3.svg"/><Relationship Id="rId5" Type="http://schemas.openxmlformats.org/officeDocument/2006/relationships/image" Target="../media/image9.emf"/><Relationship Id="rId10" Type="http://schemas.openxmlformats.org/officeDocument/2006/relationships/image" Target="../media/image2.png"/><Relationship Id="rId4" Type="http://schemas.openxmlformats.org/officeDocument/2006/relationships/oleObject" Target="../embeddings/oleObject2.bin"/><Relationship Id="rId9"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28.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3" Type="http://schemas.openxmlformats.org/officeDocument/2006/relationships/image" Target="../media/image39.png"/><Relationship Id="rId18" Type="http://schemas.openxmlformats.org/officeDocument/2006/relationships/image" Target="../media/image44.png"/><Relationship Id="rId26" Type="http://schemas.openxmlformats.org/officeDocument/2006/relationships/image" Target="../media/image52.png"/><Relationship Id="rId21" Type="http://schemas.openxmlformats.org/officeDocument/2006/relationships/image" Target="../media/image47.png"/><Relationship Id="rId34" Type="http://schemas.openxmlformats.org/officeDocument/2006/relationships/image" Target="../media/image60.jpeg"/><Relationship Id="rId7" Type="http://schemas.openxmlformats.org/officeDocument/2006/relationships/image" Target="../media/image33.jpeg"/><Relationship Id="rId12" Type="http://schemas.openxmlformats.org/officeDocument/2006/relationships/image" Target="../media/image38.png"/><Relationship Id="rId17" Type="http://schemas.openxmlformats.org/officeDocument/2006/relationships/image" Target="../media/image43.jpeg"/><Relationship Id="rId25" Type="http://schemas.openxmlformats.org/officeDocument/2006/relationships/image" Target="../media/image51.png"/><Relationship Id="rId33" Type="http://schemas.openxmlformats.org/officeDocument/2006/relationships/image" Target="../media/image59.png"/><Relationship Id="rId38" Type="http://schemas.openxmlformats.org/officeDocument/2006/relationships/chart" Target="../charts/chart1.xml"/><Relationship Id="rId2" Type="http://schemas.openxmlformats.org/officeDocument/2006/relationships/notesSlide" Target="../notesSlides/notesSlide6.xml"/><Relationship Id="rId16" Type="http://schemas.openxmlformats.org/officeDocument/2006/relationships/image" Target="../media/image42.png"/><Relationship Id="rId20" Type="http://schemas.openxmlformats.org/officeDocument/2006/relationships/image" Target="../media/image46.jpeg"/><Relationship Id="rId29" Type="http://schemas.openxmlformats.org/officeDocument/2006/relationships/image" Target="../media/image55.jpeg"/><Relationship Id="rId1" Type="http://schemas.openxmlformats.org/officeDocument/2006/relationships/slideLayout" Target="../slideLayouts/slideLayout12.xml"/><Relationship Id="rId6" Type="http://schemas.openxmlformats.org/officeDocument/2006/relationships/image" Target="../media/image32.jpeg"/><Relationship Id="rId11" Type="http://schemas.openxmlformats.org/officeDocument/2006/relationships/image" Target="../media/image37.png"/><Relationship Id="rId24" Type="http://schemas.openxmlformats.org/officeDocument/2006/relationships/image" Target="../media/image50.jpeg"/><Relationship Id="rId32" Type="http://schemas.openxmlformats.org/officeDocument/2006/relationships/image" Target="../media/image58.png"/><Relationship Id="rId37" Type="http://schemas.openxmlformats.org/officeDocument/2006/relationships/image" Target="../media/image63.png"/><Relationship Id="rId5" Type="http://schemas.openxmlformats.org/officeDocument/2006/relationships/image" Target="../media/image31.jpeg"/><Relationship Id="rId15" Type="http://schemas.openxmlformats.org/officeDocument/2006/relationships/image" Target="../media/image41.png"/><Relationship Id="rId23" Type="http://schemas.openxmlformats.org/officeDocument/2006/relationships/image" Target="../media/image49.jpeg"/><Relationship Id="rId28" Type="http://schemas.openxmlformats.org/officeDocument/2006/relationships/image" Target="../media/image54.jpeg"/><Relationship Id="rId36" Type="http://schemas.openxmlformats.org/officeDocument/2006/relationships/image" Target="../media/image62.jpeg"/><Relationship Id="rId10" Type="http://schemas.openxmlformats.org/officeDocument/2006/relationships/image" Target="../media/image36.jpeg"/><Relationship Id="rId19" Type="http://schemas.openxmlformats.org/officeDocument/2006/relationships/image" Target="../media/image45.png"/><Relationship Id="rId31" Type="http://schemas.openxmlformats.org/officeDocument/2006/relationships/image" Target="../media/image57.jpe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jpeg"/><Relationship Id="rId27" Type="http://schemas.openxmlformats.org/officeDocument/2006/relationships/image" Target="../media/image53.png"/><Relationship Id="rId30" Type="http://schemas.openxmlformats.org/officeDocument/2006/relationships/image" Target="../media/image56.png"/><Relationship Id="rId35" Type="http://schemas.openxmlformats.org/officeDocument/2006/relationships/image" Target="../media/image61.png"/><Relationship Id="rId8" Type="http://schemas.openxmlformats.org/officeDocument/2006/relationships/image" Target="../media/image34.jpeg"/><Relationship Id="rId3"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A17CFE8E-EF2D-DC41-872D-EF4CDEF3C66E}"/>
              </a:ext>
            </a:extLst>
          </p:cNvPr>
          <p:cNvGraphicFramePr>
            <a:graphicFrameLocks noChangeAspect="1"/>
          </p:cNvGraphicFramePr>
          <p:nvPr>
            <p:custDataLst>
              <p:tags r:id="rId1"/>
            </p:custDataLst>
            <p:extLst>
              <p:ext uri="{D42A27DB-BD31-4B8C-83A1-F6EECF244321}">
                <p14:modId xmlns:p14="http://schemas.microsoft.com/office/powerpoint/2010/main" val="40120098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5" name="Objekt 14" hidden="1">
                        <a:extLst>
                          <a:ext uri="{FF2B5EF4-FFF2-40B4-BE49-F238E27FC236}">
                            <a16:creationId xmlns:a16="http://schemas.microsoft.com/office/drawing/2014/main" id="{A17CFE8E-EF2D-DC41-872D-EF4CDEF3C66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3" name="Bildobjekt 12" descr="En bild som visar vaxkaka, nära&#10;&#10;Automatiskt genererad beskrivning">
            <a:extLst>
              <a:ext uri="{FF2B5EF4-FFF2-40B4-BE49-F238E27FC236}">
                <a16:creationId xmlns:a16="http://schemas.microsoft.com/office/drawing/2014/main" id="{6ED0C319-BF02-4167-BC0C-2A1C3C13E857}"/>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r="2556" b="6"/>
          <a:stretch/>
        </p:blipFill>
        <p:spPr>
          <a:xfrm>
            <a:off x="20" y="0"/>
            <a:ext cx="3255403" cy="2505456"/>
          </a:xfrm>
          <a:custGeom>
            <a:avLst/>
            <a:gdLst/>
            <a:ahLst/>
            <a:cxnLst/>
            <a:rect l="l" t="t" r="r" b="b"/>
            <a:pathLst>
              <a:path w="3255403" h="2505456">
                <a:moveTo>
                  <a:pt x="0" y="0"/>
                </a:moveTo>
                <a:lnTo>
                  <a:pt x="3255403" y="0"/>
                </a:lnTo>
                <a:lnTo>
                  <a:pt x="2094477" y="2505456"/>
                </a:lnTo>
                <a:lnTo>
                  <a:pt x="0" y="2505456"/>
                </a:lnTo>
                <a:close/>
              </a:path>
            </a:pathLst>
          </a:custGeom>
        </p:spPr>
      </p:pic>
      <p:pic>
        <p:nvPicPr>
          <p:cNvPr id="7" name="Bildobjekt 6">
            <a:extLst>
              <a:ext uri="{FF2B5EF4-FFF2-40B4-BE49-F238E27FC236}">
                <a16:creationId xmlns:a16="http://schemas.microsoft.com/office/drawing/2014/main" id="{FB409CC0-01B1-48B6-933D-A0570691ED1F}"/>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t="9168" r="5" b="5"/>
          <a:stretch/>
        </p:blipFill>
        <p:spPr>
          <a:xfrm>
            <a:off x="4675555" y="0"/>
            <a:ext cx="3677817" cy="2505456"/>
          </a:xfrm>
          <a:custGeom>
            <a:avLst/>
            <a:gdLst/>
            <a:ahLst/>
            <a:cxnLst/>
            <a:rect l="l" t="t" r="r" b="b"/>
            <a:pathLst>
              <a:path w="3677817" h="2505456">
                <a:moveTo>
                  <a:pt x="1160926" y="0"/>
                </a:moveTo>
                <a:lnTo>
                  <a:pt x="3677817" y="0"/>
                </a:lnTo>
                <a:lnTo>
                  <a:pt x="2516891" y="2505456"/>
                </a:lnTo>
                <a:lnTo>
                  <a:pt x="0" y="2505456"/>
                </a:lnTo>
                <a:close/>
              </a:path>
            </a:pathLst>
          </a:custGeom>
        </p:spPr>
      </p:pic>
      <p:pic>
        <p:nvPicPr>
          <p:cNvPr id="11" name="Bildobjekt 10">
            <a:extLst>
              <a:ext uri="{FF2B5EF4-FFF2-40B4-BE49-F238E27FC236}">
                <a16:creationId xmlns:a16="http://schemas.microsoft.com/office/drawing/2014/main" id="{9C4A0AAA-48EA-4A29-AD02-5EF4CD1E98F1}"/>
              </a:ext>
            </a:extLst>
          </p:cNvPr>
          <p:cNvPicPr>
            <a:picLocks noChangeAspect="1"/>
          </p:cNvPicPr>
          <p:nvPr/>
        </p:nvPicPr>
        <p:blipFill rotWithShape="1">
          <a:blip r:embed="rId8" cstate="hqprint">
            <a:extLst>
              <a:ext uri="{28A0092B-C50C-407E-A947-70E740481C1C}">
                <a14:useLocalDpi xmlns:a14="http://schemas.microsoft.com/office/drawing/2010/main" val="0"/>
              </a:ext>
            </a:extLst>
          </a:blip>
          <a:srcRect t="22080" r="-3" b="-3"/>
          <a:stretch/>
        </p:blipFill>
        <p:spPr>
          <a:xfrm>
            <a:off x="7381892" y="0"/>
            <a:ext cx="4810125" cy="2501827"/>
          </a:xfrm>
          <a:custGeom>
            <a:avLst/>
            <a:gdLst/>
            <a:ahLst/>
            <a:cxnLst/>
            <a:rect l="l" t="t" r="r" b="b"/>
            <a:pathLst>
              <a:path w="4810125" h="2501837">
                <a:moveTo>
                  <a:pt x="1159248" y="0"/>
                </a:moveTo>
                <a:lnTo>
                  <a:pt x="4810125" y="0"/>
                </a:lnTo>
                <a:lnTo>
                  <a:pt x="4810125" y="2501837"/>
                </a:lnTo>
                <a:lnTo>
                  <a:pt x="0" y="2501837"/>
                </a:lnTo>
                <a:close/>
              </a:path>
            </a:pathLst>
          </a:custGeom>
        </p:spPr>
      </p:pic>
      <p:sp>
        <p:nvSpPr>
          <p:cNvPr id="8" name="Rektangel 7">
            <a:extLst>
              <a:ext uri="{FF2B5EF4-FFF2-40B4-BE49-F238E27FC236}">
                <a16:creationId xmlns:a16="http://schemas.microsoft.com/office/drawing/2014/main" id="{D0DF3373-38FD-420A-ACDD-73C929DEEEE4}"/>
              </a:ext>
            </a:extLst>
          </p:cNvPr>
          <p:cNvSpPr/>
          <p:nvPr/>
        </p:nvSpPr>
        <p:spPr>
          <a:xfrm>
            <a:off x="7284378" y="2658276"/>
            <a:ext cx="4907602" cy="41997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Rätvinklig triangel 9">
            <a:extLst>
              <a:ext uri="{FF2B5EF4-FFF2-40B4-BE49-F238E27FC236}">
                <a16:creationId xmlns:a16="http://schemas.microsoft.com/office/drawing/2014/main" id="{7CF7CB7A-D4D7-4A43-B6CE-001921631D76}"/>
              </a:ext>
            </a:extLst>
          </p:cNvPr>
          <p:cNvSpPr/>
          <p:nvPr/>
        </p:nvSpPr>
        <p:spPr>
          <a:xfrm flipH="1">
            <a:off x="5353050" y="2658276"/>
            <a:ext cx="1931328" cy="4199724"/>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C1E9FF4B-1229-4262-82A6-7A1A5E116D43}"/>
              </a:ext>
            </a:extLst>
          </p:cNvPr>
          <p:cNvSpPr>
            <a:spLocks noGrp="1"/>
          </p:cNvSpPr>
          <p:nvPr>
            <p:ph type="ctrTitle"/>
          </p:nvPr>
        </p:nvSpPr>
        <p:spPr>
          <a:xfrm>
            <a:off x="6564470" y="3808805"/>
            <a:ext cx="5302472" cy="1599789"/>
          </a:xfrm>
        </p:spPr>
        <p:txBody>
          <a:bodyPr vert="horz" anchor="ctr">
            <a:normAutofit/>
          </a:bodyPr>
          <a:lstStyle/>
          <a:p>
            <a:pPr algn="r"/>
            <a:r>
              <a:rPr lang="en-US" sz="4700" b="1">
                <a:solidFill>
                  <a:srgbClr val="FFFFFF"/>
                </a:solidFill>
                <a:ea typeface="Roboto" panose="02000000000000000000" pitchFamily="2" charset="0"/>
              </a:rPr>
              <a:t>Introduction to ATMPs</a:t>
            </a:r>
          </a:p>
        </p:txBody>
      </p:sp>
      <p:pic>
        <p:nvPicPr>
          <p:cNvPr id="9" name="Bildobjekt 8" descr="En bild som visar nära&#10;&#10;Automatiskt genererad beskrivning">
            <a:extLst>
              <a:ext uri="{FF2B5EF4-FFF2-40B4-BE49-F238E27FC236}">
                <a16:creationId xmlns:a16="http://schemas.microsoft.com/office/drawing/2014/main" id="{98E0E255-BADE-4D27-BFFF-6E29131699DD}"/>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l="3287" r="6535" b="-2"/>
          <a:stretch/>
        </p:blipFill>
        <p:spPr>
          <a:xfrm>
            <a:off x="2261984" y="0"/>
            <a:ext cx="3393943" cy="2502843"/>
          </a:xfrm>
          <a:custGeom>
            <a:avLst/>
            <a:gdLst/>
            <a:ahLst/>
            <a:cxnLst/>
            <a:rect l="l" t="t" r="r" b="b"/>
            <a:pathLst>
              <a:path w="3393943" h="2502843">
                <a:moveTo>
                  <a:pt x="1159715" y="0"/>
                </a:moveTo>
                <a:lnTo>
                  <a:pt x="3393943" y="0"/>
                </a:lnTo>
                <a:lnTo>
                  <a:pt x="2234228" y="2502843"/>
                </a:lnTo>
                <a:lnTo>
                  <a:pt x="0" y="2502843"/>
                </a:lnTo>
                <a:close/>
              </a:path>
            </a:pathLst>
          </a:custGeom>
        </p:spPr>
      </p:pic>
      <p:pic>
        <p:nvPicPr>
          <p:cNvPr id="14" name="Bild 4">
            <a:extLst>
              <a:ext uri="{FF2B5EF4-FFF2-40B4-BE49-F238E27FC236}">
                <a16:creationId xmlns:a16="http://schemas.microsoft.com/office/drawing/2014/main" id="{71FE7630-5EED-C74F-8447-AA8DCDC15C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2615" y="3711756"/>
            <a:ext cx="4391933" cy="1793888"/>
          </a:xfrm>
          <a:prstGeom prst="rect">
            <a:avLst/>
          </a:prstGeom>
        </p:spPr>
      </p:pic>
      <p:cxnSp>
        <p:nvCxnSpPr>
          <p:cNvPr id="17" name="Rak 16">
            <a:extLst>
              <a:ext uri="{FF2B5EF4-FFF2-40B4-BE49-F238E27FC236}">
                <a16:creationId xmlns:a16="http://schemas.microsoft.com/office/drawing/2014/main" id="{23A680C9-178D-5D4E-930F-C1AF1B7E3DBD}"/>
              </a:ext>
            </a:extLst>
          </p:cNvPr>
          <p:cNvCxnSpPr>
            <a:cxnSpLocks/>
          </p:cNvCxnSpPr>
          <p:nvPr/>
        </p:nvCxnSpPr>
        <p:spPr>
          <a:xfrm flipH="1">
            <a:off x="7553325" y="5669280"/>
            <a:ext cx="4638655" cy="0"/>
          </a:xfrm>
          <a:prstGeom prst="line">
            <a:avLst/>
          </a:prstGeom>
          <a:ln w="50800"/>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3932378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 4">
            <a:extLst>
              <a:ext uri="{FF2B5EF4-FFF2-40B4-BE49-F238E27FC236}">
                <a16:creationId xmlns:a16="http://schemas.microsoft.com/office/drawing/2014/main" id="{476228E8-4577-7A4B-ADC0-16E9A6EB984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44703" y="2247220"/>
            <a:ext cx="5302593" cy="2165848"/>
          </a:xfrm>
          <a:prstGeom prst="rect">
            <a:avLst/>
          </a:prstGeom>
        </p:spPr>
      </p:pic>
      <p:sp>
        <p:nvSpPr>
          <p:cNvPr id="3" name="textruta 10">
            <a:extLst>
              <a:ext uri="{FF2B5EF4-FFF2-40B4-BE49-F238E27FC236}">
                <a16:creationId xmlns:a16="http://schemas.microsoft.com/office/drawing/2014/main" id="{5B08C699-DCE4-8FAC-1395-0608C962BD63}"/>
              </a:ext>
            </a:extLst>
          </p:cNvPr>
          <p:cNvSpPr txBox="1"/>
          <p:nvPr/>
        </p:nvSpPr>
        <p:spPr>
          <a:xfrm>
            <a:off x="8772525" y="6326636"/>
            <a:ext cx="5219285" cy="892552"/>
          </a:xfrm>
          <a:prstGeom prst="rect">
            <a:avLst/>
          </a:prstGeom>
          <a:noFill/>
        </p:spPr>
        <p:txBody>
          <a:bodyPr wrap="square" rtlCol="0">
            <a:spAutoFit/>
          </a:bodyPr>
          <a:lstStyle/>
          <a:p>
            <a:r>
              <a:rPr lang="sv-SE" sz="2600" b="1" err="1">
                <a:solidFill>
                  <a:schemeClr val="tx2"/>
                </a:solidFill>
                <a:latin typeface="Roboto" panose="02000000000000000000" pitchFamily="2" charset="0"/>
                <a:ea typeface="Roboto" panose="02000000000000000000" pitchFamily="2" charset="0"/>
              </a:rPr>
              <a:t>www.atmpsweden.se</a:t>
            </a:r>
            <a:endParaRPr lang="sv-SE" sz="2600" b="1">
              <a:solidFill>
                <a:schemeClr val="tx2"/>
              </a:solidFill>
              <a:latin typeface="Roboto" panose="02000000000000000000" pitchFamily="2" charset="0"/>
              <a:ea typeface="Roboto" panose="02000000000000000000" pitchFamily="2" charset="0"/>
            </a:endParaRPr>
          </a:p>
          <a:p>
            <a:endParaRPr lang="sv-SE" sz="2600">
              <a:solidFill>
                <a:schemeClr val="bg1"/>
              </a:solidFill>
              <a:latin typeface="Gotham Bold Regular" panose="02000603030000020004"/>
            </a:endParaRPr>
          </a:p>
        </p:txBody>
      </p:sp>
    </p:spTree>
    <p:extLst>
      <p:ext uri="{BB962C8B-B14F-4D97-AF65-F5344CB8AC3E}">
        <p14:creationId xmlns:p14="http://schemas.microsoft.com/office/powerpoint/2010/main" val="277342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701D9-36CA-5547-9F4E-E7B93DCD9EF5}"/>
              </a:ext>
            </a:extLst>
          </p:cNvPr>
          <p:cNvSpPr>
            <a:spLocks noGrp="1"/>
          </p:cNvSpPr>
          <p:nvPr>
            <p:ph type="title"/>
          </p:nvPr>
        </p:nvSpPr>
        <p:spPr/>
        <p:txBody>
          <a:bodyPr/>
          <a:lstStyle/>
          <a:p>
            <a:r>
              <a:rPr lang="en-SE"/>
              <a:t>Generations of pharmaceuticals </a:t>
            </a:r>
          </a:p>
        </p:txBody>
      </p:sp>
      <p:sp>
        <p:nvSpPr>
          <p:cNvPr id="4" name="Rectangle 3">
            <a:extLst>
              <a:ext uri="{FF2B5EF4-FFF2-40B4-BE49-F238E27FC236}">
                <a16:creationId xmlns:a16="http://schemas.microsoft.com/office/drawing/2014/main" id="{75E66A11-5444-DF40-A311-75A5C09C4B33}"/>
              </a:ext>
            </a:extLst>
          </p:cNvPr>
          <p:cNvSpPr/>
          <p:nvPr/>
        </p:nvSpPr>
        <p:spPr>
          <a:xfrm>
            <a:off x="1297860" y="2292399"/>
            <a:ext cx="7934616" cy="31732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cxnSp>
        <p:nvCxnSpPr>
          <p:cNvPr id="5" name="Rak 14">
            <a:extLst>
              <a:ext uri="{FF2B5EF4-FFF2-40B4-BE49-F238E27FC236}">
                <a16:creationId xmlns:a16="http://schemas.microsoft.com/office/drawing/2014/main" id="{91D76394-418D-6B4E-B41E-02747C3B7F07}"/>
              </a:ext>
            </a:extLst>
          </p:cNvPr>
          <p:cNvCxnSpPr>
            <a:cxnSpLocks/>
          </p:cNvCxnSpPr>
          <p:nvPr/>
        </p:nvCxnSpPr>
        <p:spPr>
          <a:xfrm>
            <a:off x="3516160" y="2292399"/>
            <a:ext cx="0" cy="3173233"/>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ruta 3">
            <a:extLst>
              <a:ext uri="{FF2B5EF4-FFF2-40B4-BE49-F238E27FC236}">
                <a16:creationId xmlns:a16="http://schemas.microsoft.com/office/drawing/2014/main" id="{4CF8FBE2-87F3-EB42-9E95-EC91626F1181}"/>
              </a:ext>
            </a:extLst>
          </p:cNvPr>
          <p:cNvSpPr txBox="1"/>
          <p:nvPr/>
        </p:nvSpPr>
        <p:spPr>
          <a:xfrm>
            <a:off x="1245292" y="2590106"/>
            <a:ext cx="2157212" cy="461665"/>
          </a:xfrm>
          <a:prstGeom prst="rect">
            <a:avLst/>
          </a:prstGeom>
          <a:noFill/>
        </p:spPr>
        <p:txBody>
          <a:bodyPr wrap="square" rtlCol="0">
            <a:spAutoFit/>
          </a:bodyPr>
          <a:lstStyle/>
          <a:p>
            <a:pPr algn="ctr"/>
            <a:r>
              <a:rPr lang="sv-SE" sz="2400" b="1">
                <a:latin typeface="Roboto Medium" panose="02000000000000000000" pitchFamily="2" charset="0"/>
                <a:ea typeface="Roboto Medium" panose="02000000000000000000" pitchFamily="2" charset="0"/>
              </a:rPr>
              <a:t>1869</a:t>
            </a:r>
          </a:p>
        </p:txBody>
      </p:sp>
      <p:sp>
        <p:nvSpPr>
          <p:cNvPr id="7" name="textruta 4">
            <a:extLst>
              <a:ext uri="{FF2B5EF4-FFF2-40B4-BE49-F238E27FC236}">
                <a16:creationId xmlns:a16="http://schemas.microsoft.com/office/drawing/2014/main" id="{A39BB3C2-9C68-434B-BC0B-52E52EB3D733}"/>
              </a:ext>
            </a:extLst>
          </p:cNvPr>
          <p:cNvSpPr txBox="1"/>
          <p:nvPr/>
        </p:nvSpPr>
        <p:spPr>
          <a:xfrm>
            <a:off x="1261400" y="3596151"/>
            <a:ext cx="2157212" cy="461665"/>
          </a:xfrm>
          <a:prstGeom prst="rect">
            <a:avLst/>
          </a:prstGeom>
          <a:noFill/>
        </p:spPr>
        <p:txBody>
          <a:bodyPr wrap="square" rtlCol="0">
            <a:spAutoFit/>
          </a:bodyPr>
          <a:lstStyle/>
          <a:p>
            <a:pPr algn="ctr"/>
            <a:r>
              <a:rPr lang="sv-SE" sz="2400" b="1">
                <a:latin typeface="Roboto Medium" panose="02000000000000000000" pitchFamily="2" charset="0"/>
                <a:ea typeface="Roboto Medium" panose="02000000000000000000" pitchFamily="2" charset="0"/>
              </a:rPr>
              <a:t>1982</a:t>
            </a:r>
          </a:p>
        </p:txBody>
      </p:sp>
      <p:sp>
        <p:nvSpPr>
          <p:cNvPr id="8" name="textruta 5">
            <a:extLst>
              <a:ext uri="{FF2B5EF4-FFF2-40B4-BE49-F238E27FC236}">
                <a16:creationId xmlns:a16="http://schemas.microsoft.com/office/drawing/2014/main" id="{D9AEF7CE-7C7A-2742-8E1A-F02F570C27BE}"/>
              </a:ext>
            </a:extLst>
          </p:cNvPr>
          <p:cNvSpPr txBox="1"/>
          <p:nvPr/>
        </p:nvSpPr>
        <p:spPr>
          <a:xfrm>
            <a:off x="1267773" y="4603474"/>
            <a:ext cx="2157212" cy="461665"/>
          </a:xfrm>
          <a:prstGeom prst="rect">
            <a:avLst/>
          </a:prstGeom>
          <a:noFill/>
        </p:spPr>
        <p:txBody>
          <a:bodyPr wrap="square" rtlCol="0">
            <a:spAutoFit/>
          </a:bodyPr>
          <a:lstStyle/>
          <a:p>
            <a:pPr algn="ctr"/>
            <a:r>
              <a:rPr lang="sv-SE" sz="2400" b="1">
                <a:latin typeface="Roboto Medium" panose="02000000000000000000" pitchFamily="2" charset="0"/>
                <a:ea typeface="Roboto Medium" panose="02000000000000000000" pitchFamily="2" charset="0"/>
              </a:rPr>
              <a:t>2009</a:t>
            </a:r>
          </a:p>
        </p:txBody>
      </p:sp>
      <p:sp>
        <p:nvSpPr>
          <p:cNvPr id="9" name="Ellips 23">
            <a:extLst>
              <a:ext uri="{FF2B5EF4-FFF2-40B4-BE49-F238E27FC236}">
                <a16:creationId xmlns:a16="http://schemas.microsoft.com/office/drawing/2014/main" id="{A76A323D-D695-0242-9C02-1CE6727A679F}"/>
              </a:ext>
            </a:extLst>
          </p:cNvPr>
          <p:cNvSpPr/>
          <p:nvPr/>
        </p:nvSpPr>
        <p:spPr>
          <a:xfrm>
            <a:off x="3347798" y="2690606"/>
            <a:ext cx="336723" cy="32923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23">
            <a:extLst>
              <a:ext uri="{FF2B5EF4-FFF2-40B4-BE49-F238E27FC236}">
                <a16:creationId xmlns:a16="http://schemas.microsoft.com/office/drawing/2014/main" id="{276B7FB9-24B8-814D-95E9-9DA219A65BAD}"/>
              </a:ext>
            </a:extLst>
          </p:cNvPr>
          <p:cNvSpPr/>
          <p:nvPr/>
        </p:nvSpPr>
        <p:spPr>
          <a:xfrm>
            <a:off x="3347794" y="3694402"/>
            <a:ext cx="336723" cy="32923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23">
            <a:extLst>
              <a:ext uri="{FF2B5EF4-FFF2-40B4-BE49-F238E27FC236}">
                <a16:creationId xmlns:a16="http://schemas.microsoft.com/office/drawing/2014/main" id="{E4E57772-6F54-E24F-BC9E-6FF4F7B12BC0}"/>
              </a:ext>
            </a:extLst>
          </p:cNvPr>
          <p:cNvSpPr/>
          <p:nvPr/>
        </p:nvSpPr>
        <p:spPr>
          <a:xfrm>
            <a:off x="3347795" y="4698198"/>
            <a:ext cx="336723" cy="329234"/>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TextBox 11">
            <a:extLst>
              <a:ext uri="{FF2B5EF4-FFF2-40B4-BE49-F238E27FC236}">
                <a16:creationId xmlns:a16="http://schemas.microsoft.com/office/drawing/2014/main" id="{4B1E954F-636E-3742-8715-9DF12A8E5214}"/>
              </a:ext>
            </a:extLst>
          </p:cNvPr>
          <p:cNvSpPr txBox="1"/>
          <p:nvPr/>
        </p:nvSpPr>
        <p:spPr>
          <a:xfrm>
            <a:off x="4013913" y="2404318"/>
            <a:ext cx="5381815" cy="800219"/>
          </a:xfrm>
          <a:prstGeom prst="rect">
            <a:avLst/>
          </a:prstGeom>
          <a:noFill/>
        </p:spPr>
        <p:txBody>
          <a:bodyPr wrap="square" rtlCol="0">
            <a:spAutoFit/>
          </a:bodyPr>
          <a:lstStyle/>
          <a:p>
            <a:r>
              <a:rPr lang="en-SE" b="1"/>
              <a:t>First synthetic pharmaceutical product is discovered</a:t>
            </a:r>
          </a:p>
          <a:p>
            <a:pPr marL="285750" indent="-285750">
              <a:buFont typeface="Arial" panose="020B0604020202020204" pitchFamily="34" charset="0"/>
              <a:buChar char="•"/>
            </a:pPr>
            <a:r>
              <a:rPr lang="en-US" sz="1400"/>
              <a:t>Synthetics are small molecule products produced by chemical synthesis. Current day synthetics </a:t>
            </a:r>
            <a:r>
              <a:rPr lang="en-SE" sz="1400"/>
              <a:t>include aspirin and paracetamol.</a:t>
            </a:r>
            <a:endParaRPr lang="en-SE"/>
          </a:p>
        </p:txBody>
      </p:sp>
      <p:sp>
        <p:nvSpPr>
          <p:cNvPr id="13" name="TextBox 12">
            <a:extLst>
              <a:ext uri="{FF2B5EF4-FFF2-40B4-BE49-F238E27FC236}">
                <a16:creationId xmlns:a16="http://schemas.microsoft.com/office/drawing/2014/main" id="{1660C22D-A6F4-2C42-A647-40CB55564A00}"/>
              </a:ext>
            </a:extLst>
          </p:cNvPr>
          <p:cNvSpPr txBox="1"/>
          <p:nvPr/>
        </p:nvSpPr>
        <p:spPr>
          <a:xfrm>
            <a:off x="4013912" y="3398223"/>
            <a:ext cx="5052434" cy="800219"/>
          </a:xfrm>
          <a:prstGeom prst="rect">
            <a:avLst/>
          </a:prstGeom>
          <a:noFill/>
        </p:spPr>
        <p:txBody>
          <a:bodyPr wrap="square" rtlCol="0">
            <a:spAutoFit/>
          </a:bodyPr>
          <a:lstStyle/>
          <a:p>
            <a:r>
              <a:rPr lang="en-SE" b="1"/>
              <a:t>First biologic pharmaceutical product is approved</a:t>
            </a:r>
          </a:p>
          <a:p>
            <a:pPr marL="285750" indent="-285750">
              <a:buFont typeface="Arial" panose="020B0604020202020204" pitchFamily="34" charset="0"/>
              <a:buChar char="•"/>
            </a:pPr>
            <a:r>
              <a:rPr lang="en-SE" sz="1400"/>
              <a:t>Biologics are products manufactured from, or using, cells and living organisms. Examples include proteins and antibodies. </a:t>
            </a:r>
          </a:p>
        </p:txBody>
      </p:sp>
      <p:sp>
        <p:nvSpPr>
          <p:cNvPr id="14" name="TextBox 13">
            <a:extLst>
              <a:ext uri="{FF2B5EF4-FFF2-40B4-BE49-F238E27FC236}">
                <a16:creationId xmlns:a16="http://schemas.microsoft.com/office/drawing/2014/main" id="{4B983579-3D65-0348-85C9-DADAFC79F3FC}"/>
              </a:ext>
            </a:extLst>
          </p:cNvPr>
          <p:cNvSpPr txBox="1"/>
          <p:nvPr/>
        </p:nvSpPr>
        <p:spPr>
          <a:xfrm>
            <a:off x="4013913" y="4431928"/>
            <a:ext cx="5052437" cy="1015663"/>
          </a:xfrm>
          <a:prstGeom prst="rect">
            <a:avLst/>
          </a:prstGeom>
          <a:noFill/>
        </p:spPr>
        <p:txBody>
          <a:bodyPr wrap="square" rtlCol="0">
            <a:spAutoFit/>
          </a:bodyPr>
          <a:lstStyle/>
          <a:p>
            <a:r>
              <a:rPr lang="en-SE" b="1"/>
              <a:t>First ATMP is approved by the FDA</a:t>
            </a:r>
          </a:p>
          <a:p>
            <a:pPr marL="285750" indent="-285750">
              <a:buFont typeface="Arial" panose="020B0604020202020204" pitchFamily="34" charset="0"/>
              <a:buChar char="•"/>
            </a:pPr>
            <a:r>
              <a:rPr lang="en-SE" sz="1400"/>
              <a:t>Advanced therapy medicinal products (ATMP) are cell or gene based therapies. An example is Kymriah. All ATMPs include biologic elements. </a:t>
            </a:r>
            <a:endParaRPr lang="en-SE"/>
          </a:p>
        </p:txBody>
      </p:sp>
    </p:spTree>
    <p:extLst>
      <p:ext uri="{BB962C8B-B14F-4D97-AF65-F5344CB8AC3E}">
        <p14:creationId xmlns:p14="http://schemas.microsoft.com/office/powerpoint/2010/main" val="2956438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914A8A11-B278-296B-1ED1-3CB10DED3A7F}"/>
              </a:ext>
            </a:extLst>
          </p:cNvPr>
          <p:cNvSpPr>
            <a:spLocks noGrp="1"/>
          </p:cNvSpPr>
          <p:nvPr>
            <p:ph sz="quarter" idx="10"/>
          </p:nvPr>
        </p:nvSpPr>
        <p:spPr>
          <a:xfrm>
            <a:off x="3000375" y="2049991"/>
            <a:ext cx="6554171" cy="2759076"/>
          </a:xfrm>
        </p:spPr>
        <p:txBody>
          <a:bodyPr/>
          <a:lstStyle/>
          <a:p>
            <a:pPr marL="0" indent="0">
              <a:buNone/>
            </a:pPr>
            <a:r>
              <a:rPr lang="en-US" sz="3200"/>
              <a:t>An ATMP is a living therapy. </a:t>
            </a:r>
          </a:p>
          <a:p>
            <a:pPr marL="0" indent="0">
              <a:buNone/>
            </a:pPr>
            <a:r>
              <a:rPr lang="en-US" sz="3200" b="0" dirty="0"/>
              <a:t>ATMPs are unique since they are based on live material that is engineered or used in a new way that provides therapeutic effect</a:t>
            </a:r>
          </a:p>
          <a:p>
            <a:pPr marL="0" indent="0">
              <a:buNone/>
            </a:pPr>
            <a:endParaRPr lang="en-US" sz="3200" b="0"/>
          </a:p>
        </p:txBody>
      </p:sp>
    </p:spTree>
    <p:extLst>
      <p:ext uri="{BB962C8B-B14F-4D97-AF65-F5344CB8AC3E}">
        <p14:creationId xmlns:p14="http://schemas.microsoft.com/office/powerpoint/2010/main" val="205438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71C2EF32-D181-F14D-8A38-4C9A5BAFEA32}"/>
              </a:ext>
            </a:extLst>
          </p:cNvPr>
          <p:cNvSpPr/>
          <p:nvPr/>
        </p:nvSpPr>
        <p:spPr>
          <a:xfrm>
            <a:off x="1935719" y="4113652"/>
            <a:ext cx="3289467" cy="511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accent1"/>
              </a:buClr>
            </a:pPr>
            <a:r>
              <a:rPr lang="en-US" b="1">
                <a:solidFill>
                  <a:schemeClr val="tx1"/>
                </a:solidFill>
              </a:rPr>
              <a:t>Correcting</a:t>
            </a:r>
            <a:r>
              <a:rPr lang="en-US">
                <a:solidFill>
                  <a:schemeClr val="tx1"/>
                </a:solidFill>
              </a:rPr>
              <a:t> faulty patient DNA </a:t>
            </a:r>
          </a:p>
        </p:txBody>
      </p:sp>
      <p:sp>
        <p:nvSpPr>
          <p:cNvPr id="37" name="Rectangle 36">
            <a:extLst>
              <a:ext uri="{FF2B5EF4-FFF2-40B4-BE49-F238E27FC236}">
                <a16:creationId xmlns:a16="http://schemas.microsoft.com/office/drawing/2014/main" id="{A5EF99E6-FAB8-2346-A343-34570B94BC29}"/>
              </a:ext>
            </a:extLst>
          </p:cNvPr>
          <p:cNvSpPr/>
          <p:nvPr/>
        </p:nvSpPr>
        <p:spPr>
          <a:xfrm>
            <a:off x="1935719" y="4769267"/>
            <a:ext cx="3126156" cy="511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accent1"/>
              </a:buClr>
            </a:pPr>
            <a:r>
              <a:rPr lang="en-US" b="1">
                <a:solidFill>
                  <a:schemeClr val="tx1"/>
                </a:solidFill>
              </a:rPr>
              <a:t>Adding</a:t>
            </a:r>
            <a:r>
              <a:rPr lang="en-US">
                <a:solidFill>
                  <a:schemeClr val="tx1"/>
                </a:solidFill>
              </a:rPr>
              <a:t> manipulated cells</a:t>
            </a:r>
          </a:p>
        </p:txBody>
      </p:sp>
      <p:sp>
        <p:nvSpPr>
          <p:cNvPr id="29" name="Title 14">
            <a:extLst>
              <a:ext uri="{FF2B5EF4-FFF2-40B4-BE49-F238E27FC236}">
                <a16:creationId xmlns:a16="http://schemas.microsoft.com/office/drawing/2014/main" id="{E46A88B8-12EC-6644-BDBA-0013C056925F}"/>
              </a:ext>
            </a:extLst>
          </p:cNvPr>
          <p:cNvSpPr txBox="1">
            <a:spLocks/>
          </p:cNvSpPr>
          <p:nvPr/>
        </p:nvSpPr>
        <p:spPr>
          <a:xfrm>
            <a:off x="821996" y="36395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baseline="0">
                <a:solidFill>
                  <a:schemeClr val="tx1"/>
                </a:solidFill>
                <a:latin typeface="Roboto" panose="02000000000000000000" pitchFamily="2" charset="0"/>
                <a:ea typeface="+mj-ea"/>
                <a:cs typeface="+mj-cs"/>
              </a:defRPr>
            </a:lvl1pPr>
          </a:lstStyle>
          <a:p>
            <a:r>
              <a:rPr lang="en-US" sz="4000"/>
              <a:t>ATMPs can achieve what has previously been considered impossible</a:t>
            </a:r>
          </a:p>
        </p:txBody>
      </p:sp>
      <p:sp>
        <p:nvSpPr>
          <p:cNvPr id="38" name="Rectangle 37">
            <a:extLst>
              <a:ext uri="{FF2B5EF4-FFF2-40B4-BE49-F238E27FC236}">
                <a16:creationId xmlns:a16="http://schemas.microsoft.com/office/drawing/2014/main" id="{C35A410D-1F7C-1F4B-95FF-6227F91325C0}"/>
              </a:ext>
            </a:extLst>
          </p:cNvPr>
          <p:cNvSpPr/>
          <p:nvPr/>
        </p:nvSpPr>
        <p:spPr>
          <a:xfrm>
            <a:off x="1918129" y="3458036"/>
            <a:ext cx="4643319" cy="511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1"/>
                </a:solidFill>
              </a:rPr>
              <a:t>Replacing</a:t>
            </a:r>
            <a:r>
              <a:rPr lang="en-US">
                <a:solidFill>
                  <a:schemeClr val="tx1"/>
                </a:solidFill>
              </a:rPr>
              <a:t> cells or tissues</a:t>
            </a:r>
          </a:p>
        </p:txBody>
      </p:sp>
      <p:sp>
        <p:nvSpPr>
          <p:cNvPr id="47" name="Rectangle 46">
            <a:extLst>
              <a:ext uri="{FF2B5EF4-FFF2-40B4-BE49-F238E27FC236}">
                <a16:creationId xmlns:a16="http://schemas.microsoft.com/office/drawing/2014/main" id="{C042DEED-CEAE-054E-A4DF-7459090495F8}"/>
              </a:ext>
            </a:extLst>
          </p:cNvPr>
          <p:cNvSpPr/>
          <p:nvPr/>
        </p:nvSpPr>
        <p:spPr>
          <a:xfrm>
            <a:off x="1918129" y="2802420"/>
            <a:ext cx="4643319" cy="511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1"/>
                </a:solidFill>
              </a:rPr>
              <a:t>Instructing </a:t>
            </a:r>
            <a:r>
              <a:rPr lang="en-US">
                <a:solidFill>
                  <a:schemeClr val="tx1"/>
                </a:solidFill>
              </a:rPr>
              <a:t>to kill defective cells</a:t>
            </a:r>
          </a:p>
        </p:txBody>
      </p:sp>
      <p:pic>
        <p:nvPicPr>
          <p:cNvPr id="25" name="Graphic 30" descr="Badge Tick1 outline">
            <a:extLst>
              <a:ext uri="{FF2B5EF4-FFF2-40B4-BE49-F238E27FC236}">
                <a16:creationId xmlns:a16="http://schemas.microsoft.com/office/drawing/2014/main" id="{9DAAD98F-04E9-8616-6DCB-39C57B8BAF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96470" y="4114010"/>
            <a:ext cx="546969" cy="546969"/>
          </a:xfrm>
          <a:prstGeom prst="rect">
            <a:avLst/>
          </a:prstGeom>
        </p:spPr>
      </p:pic>
      <p:pic>
        <p:nvPicPr>
          <p:cNvPr id="26" name="Graphic 31" descr="Add outline">
            <a:extLst>
              <a:ext uri="{FF2B5EF4-FFF2-40B4-BE49-F238E27FC236}">
                <a16:creationId xmlns:a16="http://schemas.microsoft.com/office/drawing/2014/main" id="{47C2D619-6B13-D501-AA96-0FC2BD3307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6468" y="4755626"/>
            <a:ext cx="562386" cy="562386"/>
          </a:xfrm>
          <a:prstGeom prst="rect">
            <a:avLst/>
          </a:prstGeom>
        </p:spPr>
      </p:pic>
      <p:pic>
        <p:nvPicPr>
          <p:cNvPr id="27" name="Graphic 49" descr="Recycle outline">
            <a:extLst>
              <a:ext uri="{FF2B5EF4-FFF2-40B4-BE49-F238E27FC236}">
                <a16:creationId xmlns:a16="http://schemas.microsoft.com/office/drawing/2014/main" id="{D775F468-E72D-5F3A-A875-D4DFC7CE84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63745" y="3421949"/>
            <a:ext cx="597413" cy="597413"/>
          </a:xfrm>
          <a:prstGeom prst="rect">
            <a:avLst/>
          </a:prstGeom>
        </p:spPr>
      </p:pic>
      <p:pic>
        <p:nvPicPr>
          <p:cNvPr id="28" name="Graphic 50" descr="Skull outline">
            <a:extLst>
              <a:ext uri="{FF2B5EF4-FFF2-40B4-BE49-F238E27FC236}">
                <a16:creationId xmlns:a16="http://schemas.microsoft.com/office/drawing/2014/main" id="{33A11EA4-52AC-B78A-3FAF-CBD6C765EA7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75982" y="2748750"/>
            <a:ext cx="578551" cy="578551"/>
          </a:xfrm>
          <a:prstGeom prst="rect">
            <a:avLst/>
          </a:prstGeom>
        </p:spPr>
      </p:pic>
      <p:pic>
        <p:nvPicPr>
          <p:cNvPr id="19" name="Graphic 32" descr="Smiling face outline outline">
            <a:extLst>
              <a:ext uri="{FF2B5EF4-FFF2-40B4-BE49-F238E27FC236}">
                <a16:creationId xmlns:a16="http://schemas.microsoft.com/office/drawing/2014/main" id="{D42F4183-9BC8-4ACA-FB4E-660B4CC5AB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22195" y="2818340"/>
            <a:ext cx="578551" cy="578551"/>
          </a:xfrm>
          <a:prstGeom prst="rect">
            <a:avLst/>
          </a:prstGeom>
        </p:spPr>
      </p:pic>
      <p:pic>
        <p:nvPicPr>
          <p:cNvPr id="20" name="Graphic 33" descr="DNA outline">
            <a:extLst>
              <a:ext uri="{FF2B5EF4-FFF2-40B4-BE49-F238E27FC236}">
                <a16:creationId xmlns:a16="http://schemas.microsoft.com/office/drawing/2014/main" id="{7AFB2FC1-B186-C22F-3A80-6800190ACC0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42977" y="4744870"/>
            <a:ext cx="562386" cy="562386"/>
          </a:xfrm>
          <a:prstGeom prst="rect">
            <a:avLst/>
          </a:prstGeom>
        </p:spPr>
      </p:pic>
      <p:pic>
        <p:nvPicPr>
          <p:cNvPr id="30" name="Graphic 51" descr="No sign outline">
            <a:extLst>
              <a:ext uri="{FF2B5EF4-FFF2-40B4-BE49-F238E27FC236}">
                <a16:creationId xmlns:a16="http://schemas.microsoft.com/office/drawing/2014/main" id="{921A26A2-5B50-07BA-5C32-B46BBBA793C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22194" y="3775077"/>
            <a:ext cx="578551" cy="578551"/>
          </a:xfrm>
          <a:prstGeom prst="rect">
            <a:avLst/>
          </a:prstGeom>
        </p:spPr>
      </p:pic>
      <p:sp>
        <p:nvSpPr>
          <p:cNvPr id="2" name="Chevron 1">
            <a:extLst>
              <a:ext uri="{FF2B5EF4-FFF2-40B4-BE49-F238E27FC236}">
                <a16:creationId xmlns:a16="http://schemas.microsoft.com/office/drawing/2014/main" id="{534FAA8C-BD4A-F74D-9CDB-7668C4DB422D}"/>
              </a:ext>
            </a:extLst>
          </p:cNvPr>
          <p:cNvSpPr/>
          <p:nvPr/>
        </p:nvSpPr>
        <p:spPr>
          <a:xfrm>
            <a:off x="5357863" y="2802419"/>
            <a:ext cx="1457221" cy="2502903"/>
          </a:xfrm>
          <a:prstGeom prst="chevron">
            <a:avLst>
              <a:gd name="adj" fmla="val 673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4" name="TextBox 3">
            <a:extLst>
              <a:ext uri="{FF2B5EF4-FFF2-40B4-BE49-F238E27FC236}">
                <a16:creationId xmlns:a16="http://schemas.microsoft.com/office/drawing/2014/main" id="{EFE8BCB2-783D-964B-A0F4-C187F31ABC00}"/>
              </a:ext>
            </a:extLst>
          </p:cNvPr>
          <p:cNvSpPr txBox="1"/>
          <p:nvPr/>
        </p:nvSpPr>
        <p:spPr>
          <a:xfrm>
            <a:off x="1862265" y="2209402"/>
            <a:ext cx="2502376" cy="461665"/>
          </a:xfrm>
          <a:prstGeom prst="rect">
            <a:avLst/>
          </a:prstGeom>
          <a:noFill/>
        </p:spPr>
        <p:txBody>
          <a:bodyPr wrap="square" rtlCol="0">
            <a:spAutoFit/>
          </a:bodyPr>
          <a:lstStyle/>
          <a:p>
            <a:r>
              <a:rPr lang="en-SE" sz="2400" b="1">
                <a:solidFill>
                  <a:schemeClr val="tx2"/>
                </a:solidFill>
                <a:latin typeface="Roboto" panose="02000000000000000000" pitchFamily="2" charset="0"/>
                <a:ea typeface="Roboto" panose="02000000000000000000" pitchFamily="2" charset="0"/>
              </a:rPr>
              <a:t>ACTION</a:t>
            </a:r>
          </a:p>
        </p:txBody>
      </p:sp>
      <p:cxnSp>
        <p:nvCxnSpPr>
          <p:cNvPr id="6" name="Straight Connector 5">
            <a:extLst>
              <a:ext uri="{FF2B5EF4-FFF2-40B4-BE49-F238E27FC236}">
                <a16:creationId xmlns:a16="http://schemas.microsoft.com/office/drawing/2014/main" id="{7ABC6C12-DED4-9E4D-9B51-6EE822064730}"/>
              </a:ext>
            </a:extLst>
          </p:cNvPr>
          <p:cNvCxnSpPr>
            <a:cxnSpLocks/>
          </p:cNvCxnSpPr>
          <p:nvPr/>
        </p:nvCxnSpPr>
        <p:spPr>
          <a:xfrm>
            <a:off x="1843439" y="2621553"/>
            <a:ext cx="2540028" cy="0"/>
          </a:xfrm>
          <a:prstGeom prst="line">
            <a:avLst/>
          </a:prstGeom>
          <a:ln w="38100"/>
        </p:spPr>
        <p:style>
          <a:lnRef idx="3">
            <a:schemeClr val="accent1"/>
          </a:lnRef>
          <a:fillRef idx="0">
            <a:schemeClr val="accent1"/>
          </a:fillRef>
          <a:effectRef idx="2">
            <a:schemeClr val="accent1"/>
          </a:effectRef>
          <a:fontRef idx="minor">
            <a:schemeClr val="tx1"/>
          </a:fontRef>
        </p:style>
      </p:cxnSp>
      <p:sp>
        <p:nvSpPr>
          <p:cNvPr id="33" name="TextBox 32">
            <a:extLst>
              <a:ext uri="{FF2B5EF4-FFF2-40B4-BE49-F238E27FC236}">
                <a16:creationId xmlns:a16="http://schemas.microsoft.com/office/drawing/2014/main" id="{BD989B91-BD7D-1647-803E-E0EC54DFFC1F}"/>
              </a:ext>
            </a:extLst>
          </p:cNvPr>
          <p:cNvSpPr txBox="1"/>
          <p:nvPr/>
        </p:nvSpPr>
        <p:spPr>
          <a:xfrm>
            <a:off x="7792550" y="2209402"/>
            <a:ext cx="2556011" cy="461665"/>
          </a:xfrm>
          <a:prstGeom prst="rect">
            <a:avLst/>
          </a:prstGeom>
          <a:noFill/>
        </p:spPr>
        <p:txBody>
          <a:bodyPr wrap="square" rtlCol="0">
            <a:spAutoFit/>
          </a:bodyPr>
          <a:lstStyle/>
          <a:p>
            <a:r>
              <a:rPr lang="en-SE" sz="2400" b="1">
                <a:solidFill>
                  <a:schemeClr val="tx2"/>
                </a:solidFill>
                <a:latin typeface="Roboto" panose="02000000000000000000" pitchFamily="2" charset="0"/>
                <a:ea typeface="Roboto" panose="02000000000000000000" pitchFamily="2" charset="0"/>
              </a:rPr>
              <a:t>OUTCOME</a:t>
            </a:r>
          </a:p>
        </p:txBody>
      </p:sp>
      <p:cxnSp>
        <p:nvCxnSpPr>
          <p:cNvPr id="39" name="Straight Connector 38">
            <a:extLst>
              <a:ext uri="{FF2B5EF4-FFF2-40B4-BE49-F238E27FC236}">
                <a16:creationId xmlns:a16="http://schemas.microsoft.com/office/drawing/2014/main" id="{9B532D57-21FD-A74D-A658-45B6AAED8409}"/>
              </a:ext>
            </a:extLst>
          </p:cNvPr>
          <p:cNvCxnSpPr/>
          <p:nvPr/>
        </p:nvCxnSpPr>
        <p:spPr>
          <a:xfrm>
            <a:off x="7770882" y="2621553"/>
            <a:ext cx="2540028" cy="0"/>
          </a:xfrm>
          <a:prstGeom prst="line">
            <a:avLst/>
          </a:prstGeom>
          <a:ln w="38100"/>
        </p:spPr>
        <p:style>
          <a:lnRef idx="3">
            <a:schemeClr val="accent1"/>
          </a:lnRef>
          <a:fillRef idx="0">
            <a:schemeClr val="accent1"/>
          </a:fillRef>
          <a:effectRef idx="2">
            <a:schemeClr val="accent1"/>
          </a:effectRef>
          <a:fontRef idx="minor">
            <a:schemeClr val="tx1"/>
          </a:fontRef>
        </p:style>
      </p:cxnSp>
      <p:sp>
        <p:nvSpPr>
          <p:cNvPr id="23" name="Rectangle 22">
            <a:extLst>
              <a:ext uri="{FF2B5EF4-FFF2-40B4-BE49-F238E27FC236}">
                <a16:creationId xmlns:a16="http://schemas.microsoft.com/office/drawing/2014/main" id="{E3CE468C-98A1-BD43-89FA-9DD9CF7A48E9}"/>
              </a:ext>
            </a:extLst>
          </p:cNvPr>
          <p:cNvSpPr/>
          <p:nvPr/>
        </p:nvSpPr>
        <p:spPr>
          <a:xfrm>
            <a:off x="7877077" y="3790547"/>
            <a:ext cx="3289467" cy="511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accent1"/>
              </a:buClr>
            </a:pPr>
            <a:r>
              <a:rPr lang="en-US" b="1">
                <a:solidFill>
                  <a:schemeClr val="tx1"/>
                </a:solidFill>
              </a:rPr>
              <a:t>Prevent </a:t>
            </a:r>
            <a:r>
              <a:rPr lang="en-US">
                <a:solidFill>
                  <a:schemeClr val="tx1"/>
                </a:solidFill>
              </a:rPr>
              <a:t>diseases</a:t>
            </a:r>
          </a:p>
        </p:txBody>
      </p:sp>
      <p:sp>
        <p:nvSpPr>
          <p:cNvPr id="31" name="Rectangle 30">
            <a:extLst>
              <a:ext uri="{FF2B5EF4-FFF2-40B4-BE49-F238E27FC236}">
                <a16:creationId xmlns:a16="http://schemas.microsoft.com/office/drawing/2014/main" id="{DB35D7CD-ADB4-1B4D-94A4-05C1C6B0AFD8}"/>
              </a:ext>
            </a:extLst>
          </p:cNvPr>
          <p:cNvSpPr/>
          <p:nvPr/>
        </p:nvSpPr>
        <p:spPr>
          <a:xfrm>
            <a:off x="7877077" y="4778673"/>
            <a:ext cx="3126156" cy="511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accent1"/>
              </a:buClr>
            </a:pPr>
            <a:r>
              <a:rPr lang="en-US" b="1">
                <a:solidFill>
                  <a:schemeClr val="tx1"/>
                </a:solidFill>
              </a:rPr>
              <a:t>Treat </a:t>
            </a:r>
            <a:r>
              <a:rPr lang="en-US">
                <a:solidFill>
                  <a:schemeClr val="tx1"/>
                </a:solidFill>
              </a:rPr>
              <a:t>diseases</a:t>
            </a:r>
          </a:p>
        </p:txBody>
      </p:sp>
      <p:sp>
        <p:nvSpPr>
          <p:cNvPr id="32" name="Rectangle 31">
            <a:extLst>
              <a:ext uri="{FF2B5EF4-FFF2-40B4-BE49-F238E27FC236}">
                <a16:creationId xmlns:a16="http://schemas.microsoft.com/office/drawing/2014/main" id="{0355AF25-1523-D943-BABA-B824DA4351E4}"/>
              </a:ext>
            </a:extLst>
          </p:cNvPr>
          <p:cNvSpPr/>
          <p:nvPr/>
        </p:nvSpPr>
        <p:spPr>
          <a:xfrm>
            <a:off x="7859487" y="2802419"/>
            <a:ext cx="4643319" cy="5116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chemeClr val="tx1"/>
                </a:solidFill>
              </a:rPr>
              <a:t>Cure </a:t>
            </a:r>
            <a:r>
              <a:rPr lang="en-US">
                <a:solidFill>
                  <a:schemeClr val="tx1"/>
                </a:solidFill>
              </a:rPr>
              <a:t>diseases</a:t>
            </a:r>
          </a:p>
        </p:txBody>
      </p:sp>
    </p:spTree>
    <p:extLst>
      <p:ext uri="{BB962C8B-B14F-4D97-AF65-F5344CB8AC3E}">
        <p14:creationId xmlns:p14="http://schemas.microsoft.com/office/powerpoint/2010/main" val="610412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2ED74-12CA-5A40-AFF4-4D0C231C719A}"/>
              </a:ext>
            </a:extLst>
          </p:cNvPr>
          <p:cNvSpPr>
            <a:spLocks noGrp="1"/>
          </p:cNvSpPr>
          <p:nvPr>
            <p:ph type="title"/>
          </p:nvPr>
        </p:nvSpPr>
        <p:spPr/>
        <p:txBody>
          <a:bodyPr>
            <a:normAutofit/>
          </a:bodyPr>
          <a:lstStyle/>
          <a:p>
            <a:r>
              <a:rPr lang="en-US" sz="4000"/>
              <a:t>Simplified definition of ATMPs based on EMA regulations</a:t>
            </a:r>
          </a:p>
        </p:txBody>
      </p:sp>
      <p:sp>
        <p:nvSpPr>
          <p:cNvPr id="4" name="Rectangle 3">
            <a:extLst>
              <a:ext uri="{FF2B5EF4-FFF2-40B4-BE49-F238E27FC236}">
                <a16:creationId xmlns:a16="http://schemas.microsoft.com/office/drawing/2014/main" id="{B762F0CB-9C15-3043-AA4B-55C649CFCB70}"/>
              </a:ext>
            </a:extLst>
          </p:cNvPr>
          <p:cNvSpPr/>
          <p:nvPr/>
        </p:nvSpPr>
        <p:spPr>
          <a:xfrm>
            <a:off x="839788" y="1888495"/>
            <a:ext cx="10512425" cy="5789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400" b="1"/>
              <a:t>Advanced therapy medicinal product (ATMP) is an umbrella term for four subtypes of advanced therapies. </a:t>
            </a:r>
          </a:p>
          <a:p>
            <a:pPr marL="285750" indent="-285750">
              <a:buFont typeface="Arial" panose="020B0604020202020204" pitchFamily="34" charset="0"/>
              <a:buChar char="•"/>
            </a:pPr>
            <a:r>
              <a:rPr lang="en-US" sz="1400" b="1"/>
              <a:t>The four subtypes of ATMPs are comprised of three distinct subtypes, and a fourth combination subtype.</a:t>
            </a:r>
            <a:endParaRPr lang="en-US" sz="1200" b="1"/>
          </a:p>
        </p:txBody>
      </p:sp>
      <p:sp>
        <p:nvSpPr>
          <p:cNvPr id="7" name="Rectangle 6">
            <a:extLst>
              <a:ext uri="{FF2B5EF4-FFF2-40B4-BE49-F238E27FC236}">
                <a16:creationId xmlns:a16="http://schemas.microsoft.com/office/drawing/2014/main" id="{D9C68DE9-7CB1-7946-905D-9271DE896F06}"/>
              </a:ext>
            </a:extLst>
          </p:cNvPr>
          <p:cNvSpPr/>
          <p:nvPr/>
        </p:nvSpPr>
        <p:spPr>
          <a:xfrm>
            <a:off x="6027598" y="3467171"/>
            <a:ext cx="2520000" cy="27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spcBef>
                <a:spcPts val="500"/>
              </a:spcBef>
              <a:buFont typeface="Arial" panose="020B0604020202020204" pitchFamily="34" charset="0"/>
              <a:buChar char="•"/>
            </a:pPr>
            <a:r>
              <a:rPr lang="en-GB" sz="1300">
                <a:solidFill>
                  <a:schemeClr val="tx1"/>
                </a:solidFill>
              </a:rPr>
              <a:t>The active substance must be </a:t>
            </a:r>
            <a:r>
              <a:rPr lang="en-GB" sz="1300" b="1">
                <a:solidFill>
                  <a:schemeClr val="tx1"/>
                </a:solidFill>
              </a:rPr>
              <a:t>cells or tissues </a:t>
            </a:r>
            <a:r>
              <a:rPr lang="en-GB" sz="1300">
                <a:solidFill>
                  <a:schemeClr val="tx1"/>
                </a:solidFill>
              </a:rPr>
              <a:t>that are either </a:t>
            </a:r>
            <a:r>
              <a:rPr lang="en-GB" sz="1300" b="1">
                <a:solidFill>
                  <a:schemeClr val="tx1"/>
                </a:solidFill>
              </a:rPr>
              <a:t>substantially manipulated </a:t>
            </a:r>
            <a:r>
              <a:rPr lang="en-GB" sz="1300">
                <a:solidFill>
                  <a:schemeClr val="tx1"/>
                </a:solidFill>
              </a:rPr>
              <a:t>or that have a different main function in the recipient. </a:t>
            </a:r>
          </a:p>
          <a:p>
            <a:pPr marL="180000" indent="-180000">
              <a:spcBef>
                <a:spcPts val="500"/>
              </a:spcBef>
              <a:buFont typeface="Arial" panose="020B0604020202020204" pitchFamily="34" charset="0"/>
              <a:buChar char="•"/>
            </a:pPr>
            <a:r>
              <a:rPr lang="en-GB" sz="1300">
                <a:solidFill>
                  <a:schemeClr val="tx1"/>
                </a:solidFill>
              </a:rPr>
              <a:t>The purpose must be to </a:t>
            </a:r>
            <a:r>
              <a:rPr lang="en-GB" sz="1300" b="1">
                <a:solidFill>
                  <a:schemeClr val="tx1"/>
                </a:solidFill>
              </a:rPr>
              <a:t>repair, regenerate or replace </a:t>
            </a:r>
            <a:r>
              <a:rPr lang="en-GB" sz="1300">
                <a:solidFill>
                  <a:schemeClr val="tx1"/>
                </a:solidFill>
              </a:rPr>
              <a:t>human tissue. </a:t>
            </a:r>
          </a:p>
        </p:txBody>
      </p:sp>
      <p:sp>
        <p:nvSpPr>
          <p:cNvPr id="9" name="Rectangle 8">
            <a:extLst>
              <a:ext uri="{FF2B5EF4-FFF2-40B4-BE49-F238E27FC236}">
                <a16:creationId xmlns:a16="http://schemas.microsoft.com/office/drawing/2014/main" id="{1AFFBB22-0A57-AC4F-992C-153E397DC320}"/>
              </a:ext>
            </a:extLst>
          </p:cNvPr>
          <p:cNvSpPr/>
          <p:nvPr/>
        </p:nvSpPr>
        <p:spPr>
          <a:xfrm>
            <a:off x="8832213" y="3467171"/>
            <a:ext cx="2520000" cy="27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spcBef>
                <a:spcPts val="500"/>
              </a:spcBef>
              <a:buFont typeface="Arial" panose="020B0604020202020204" pitchFamily="34" charset="0"/>
              <a:buChar char="•"/>
            </a:pPr>
            <a:r>
              <a:rPr lang="en-GB" sz="1300">
                <a:solidFill>
                  <a:schemeClr val="tx1"/>
                </a:solidFill>
              </a:rPr>
              <a:t>A therapy that must incorporate at </a:t>
            </a:r>
            <a:r>
              <a:rPr lang="en-GB" sz="1300" b="1">
                <a:solidFill>
                  <a:schemeClr val="tx1"/>
                </a:solidFill>
              </a:rPr>
              <a:t>least one medical device</a:t>
            </a:r>
            <a:r>
              <a:rPr lang="en-GB" sz="1300">
                <a:solidFill>
                  <a:schemeClr val="tx1"/>
                </a:solidFill>
              </a:rPr>
              <a:t>, in combination with one of the three other subtypes.</a:t>
            </a:r>
            <a:endParaRPr lang="en-US" sz="1300">
              <a:solidFill>
                <a:schemeClr val="tx1"/>
              </a:solidFill>
            </a:endParaRPr>
          </a:p>
        </p:txBody>
      </p:sp>
      <p:sp>
        <p:nvSpPr>
          <p:cNvPr id="10" name="Rectangle 9">
            <a:extLst>
              <a:ext uri="{FF2B5EF4-FFF2-40B4-BE49-F238E27FC236}">
                <a16:creationId xmlns:a16="http://schemas.microsoft.com/office/drawing/2014/main" id="{397B7F34-5DB3-8948-9AAB-A2D72A49DC28}"/>
              </a:ext>
            </a:extLst>
          </p:cNvPr>
          <p:cNvSpPr/>
          <p:nvPr/>
        </p:nvSpPr>
        <p:spPr>
          <a:xfrm>
            <a:off x="3411858" y="3467171"/>
            <a:ext cx="2520000" cy="27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spcBef>
                <a:spcPts val="500"/>
              </a:spcBef>
              <a:buFont typeface="Arial" panose="020B0604020202020204" pitchFamily="34" charset="0"/>
              <a:buChar char="•"/>
            </a:pPr>
            <a:r>
              <a:rPr lang="en-SE" sz="1300">
                <a:solidFill>
                  <a:schemeClr val="tx1"/>
                </a:solidFill>
              </a:rPr>
              <a:t>The active substance must be </a:t>
            </a:r>
            <a:r>
              <a:rPr lang="en-SE" sz="1300" b="1">
                <a:solidFill>
                  <a:schemeClr val="tx1"/>
                </a:solidFill>
              </a:rPr>
              <a:t>cells</a:t>
            </a:r>
            <a:r>
              <a:rPr lang="en-SE" sz="1300">
                <a:solidFill>
                  <a:schemeClr val="tx1"/>
                </a:solidFill>
              </a:rPr>
              <a:t> that are either </a:t>
            </a:r>
            <a:r>
              <a:rPr lang="en-SE" sz="1300" b="1">
                <a:solidFill>
                  <a:schemeClr val="tx1"/>
                </a:solidFill>
              </a:rPr>
              <a:t>significantly manipulated</a:t>
            </a:r>
            <a:r>
              <a:rPr lang="en-SE" sz="1300">
                <a:solidFill>
                  <a:schemeClr val="tx1"/>
                </a:solidFill>
              </a:rPr>
              <a:t>, or </a:t>
            </a:r>
            <a:r>
              <a:rPr lang="en-SE" sz="1300" b="1">
                <a:solidFill>
                  <a:schemeClr val="tx1"/>
                </a:solidFill>
              </a:rPr>
              <a:t>donated cells </a:t>
            </a:r>
            <a:r>
              <a:rPr lang="en-SE" sz="1300">
                <a:solidFill>
                  <a:schemeClr val="tx1"/>
                </a:solidFill>
              </a:rPr>
              <a:t>that have a different main function in the recipient.</a:t>
            </a:r>
          </a:p>
          <a:p>
            <a:pPr marL="180000" indent="-180000">
              <a:spcBef>
                <a:spcPts val="500"/>
              </a:spcBef>
              <a:buFont typeface="Arial" panose="020B0604020202020204" pitchFamily="34" charset="0"/>
              <a:buChar char="•"/>
            </a:pPr>
            <a:r>
              <a:rPr lang="en-GB" sz="1300">
                <a:solidFill>
                  <a:schemeClr val="tx1"/>
                </a:solidFill>
              </a:rPr>
              <a:t>The purpose must be to </a:t>
            </a:r>
            <a:r>
              <a:rPr lang="en-GB" sz="1300" b="1">
                <a:solidFill>
                  <a:schemeClr val="tx1"/>
                </a:solidFill>
              </a:rPr>
              <a:t>treat, prevent or diagnose </a:t>
            </a:r>
            <a:r>
              <a:rPr lang="en-GB" sz="1300">
                <a:solidFill>
                  <a:schemeClr val="tx1"/>
                </a:solidFill>
              </a:rPr>
              <a:t>a disease. </a:t>
            </a:r>
          </a:p>
        </p:txBody>
      </p:sp>
      <p:sp>
        <p:nvSpPr>
          <p:cNvPr id="11" name="Rectangle 10">
            <a:extLst>
              <a:ext uri="{FF2B5EF4-FFF2-40B4-BE49-F238E27FC236}">
                <a16:creationId xmlns:a16="http://schemas.microsoft.com/office/drawing/2014/main" id="{F638904B-D90E-BE4B-A1C0-DCCEF080F2C8}"/>
              </a:ext>
            </a:extLst>
          </p:cNvPr>
          <p:cNvSpPr/>
          <p:nvPr/>
        </p:nvSpPr>
        <p:spPr>
          <a:xfrm>
            <a:off x="838199" y="3467171"/>
            <a:ext cx="2383482" cy="277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spcBef>
                <a:spcPts val="500"/>
              </a:spcBef>
              <a:buFont typeface="Arial" panose="020B0604020202020204" pitchFamily="34" charset="0"/>
              <a:buChar char="•"/>
            </a:pPr>
            <a:r>
              <a:rPr lang="en-US" sz="1300">
                <a:solidFill>
                  <a:schemeClr val="tx1"/>
                </a:solidFill>
              </a:rPr>
              <a:t>The active substance must be a </a:t>
            </a:r>
            <a:r>
              <a:rPr lang="en-US" sz="1300" b="1">
                <a:solidFill>
                  <a:schemeClr val="tx1"/>
                </a:solidFill>
              </a:rPr>
              <a:t>recombinant DNA</a:t>
            </a:r>
            <a:r>
              <a:rPr lang="en-US" sz="1300">
                <a:solidFill>
                  <a:schemeClr val="tx1"/>
                </a:solidFill>
              </a:rPr>
              <a:t> (DNA that is created in the laboratory, bringing together DNA from different sources). </a:t>
            </a:r>
          </a:p>
          <a:p>
            <a:pPr marL="180000" indent="-180000">
              <a:spcBef>
                <a:spcPts val="500"/>
              </a:spcBef>
              <a:buFont typeface="Arial" panose="020B0604020202020204" pitchFamily="34" charset="0"/>
              <a:buChar char="•"/>
            </a:pPr>
            <a:r>
              <a:rPr lang="en-US" sz="1300">
                <a:solidFill>
                  <a:schemeClr val="tx1"/>
                </a:solidFill>
              </a:rPr>
              <a:t>The recombinant gene can be administered to cells </a:t>
            </a:r>
            <a:r>
              <a:rPr lang="en-US" sz="1300" i="1">
                <a:solidFill>
                  <a:schemeClr val="tx1"/>
                </a:solidFill>
              </a:rPr>
              <a:t>in vivo </a:t>
            </a:r>
            <a:r>
              <a:rPr lang="en-US" sz="1300">
                <a:solidFill>
                  <a:schemeClr val="tx1"/>
                </a:solidFill>
              </a:rPr>
              <a:t>or </a:t>
            </a:r>
            <a:r>
              <a:rPr lang="en-US" sz="1300" i="1">
                <a:solidFill>
                  <a:schemeClr val="tx1"/>
                </a:solidFill>
              </a:rPr>
              <a:t>ex vivo</a:t>
            </a:r>
            <a:r>
              <a:rPr lang="en-US" sz="1300">
                <a:solidFill>
                  <a:schemeClr val="tx1"/>
                </a:solidFill>
              </a:rPr>
              <a:t>, meaning in the human body or outside of it. </a:t>
            </a:r>
          </a:p>
          <a:p>
            <a:pPr marL="180000" indent="-180000">
              <a:spcBef>
                <a:spcPts val="500"/>
              </a:spcBef>
              <a:buFont typeface="Arial" panose="020B0604020202020204" pitchFamily="34" charset="0"/>
              <a:buChar char="•"/>
            </a:pPr>
            <a:r>
              <a:rPr lang="en-US" sz="1300">
                <a:solidFill>
                  <a:schemeClr val="tx1"/>
                </a:solidFill>
              </a:rPr>
              <a:t>It must have a direct</a:t>
            </a:r>
            <a:r>
              <a:rPr lang="en-US" sz="1300" b="1">
                <a:solidFill>
                  <a:schemeClr val="tx1"/>
                </a:solidFill>
              </a:rPr>
              <a:t> therapeutic, preventative or diagnosti</a:t>
            </a:r>
            <a:r>
              <a:rPr lang="en-US" sz="1300">
                <a:solidFill>
                  <a:schemeClr val="tx1"/>
                </a:solidFill>
              </a:rPr>
              <a:t>c effect.</a:t>
            </a:r>
          </a:p>
        </p:txBody>
      </p:sp>
      <p:sp>
        <p:nvSpPr>
          <p:cNvPr id="12" name="TextBox 11">
            <a:extLst>
              <a:ext uri="{FF2B5EF4-FFF2-40B4-BE49-F238E27FC236}">
                <a16:creationId xmlns:a16="http://schemas.microsoft.com/office/drawing/2014/main" id="{362C403B-2FD2-684C-826D-A30F08208589}"/>
              </a:ext>
            </a:extLst>
          </p:cNvPr>
          <p:cNvSpPr txBox="1"/>
          <p:nvPr/>
        </p:nvSpPr>
        <p:spPr>
          <a:xfrm>
            <a:off x="8829725" y="2880234"/>
            <a:ext cx="2329969" cy="338554"/>
          </a:xfrm>
          <a:prstGeom prst="rect">
            <a:avLst/>
          </a:prstGeom>
          <a:noFill/>
        </p:spPr>
        <p:txBody>
          <a:bodyPr wrap="square" rtlCol="0">
            <a:spAutoFit/>
          </a:bodyPr>
          <a:lstStyle/>
          <a:p>
            <a:r>
              <a:rPr lang="en-US" sz="1600" b="1">
                <a:solidFill>
                  <a:schemeClr val="tx2"/>
                </a:solidFill>
                <a:latin typeface="Roboto" panose="02000000000000000000" pitchFamily="2" charset="0"/>
                <a:ea typeface="Roboto" panose="02000000000000000000" pitchFamily="2" charset="0"/>
              </a:rPr>
              <a:t>Combined ATMP</a:t>
            </a:r>
          </a:p>
        </p:txBody>
      </p:sp>
      <p:sp>
        <p:nvSpPr>
          <p:cNvPr id="13" name="TextBox 12">
            <a:extLst>
              <a:ext uri="{FF2B5EF4-FFF2-40B4-BE49-F238E27FC236}">
                <a16:creationId xmlns:a16="http://schemas.microsoft.com/office/drawing/2014/main" id="{B3039C1B-88E9-8A4C-BE02-D53C8E9B0CDD}"/>
              </a:ext>
            </a:extLst>
          </p:cNvPr>
          <p:cNvSpPr txBox="1"/>
          <p:nvPr/>
        </p:nvSpPr>
        <p:spPr>
          <a:xfrm>
            <a:off x="748183" y="2721793"/>
            <a:ext cx="2329969" cy="584775"/>
          </a:xfrm>
          <a:prstGeom prst="rect">
            <a:avLst/>
          </a:prstGeom>
          <a:noFill/>
        </p:spPr>
        <p:txBody>
          <a:bodyPr wrap="square" rtlCol="0">
            <a:spAutoFit/>
          </a:bodyPr>
          <a:lstStyle/>
          <a:p>
            <a:r>
              <a:rPr lang="en-US" sz="1600" b="1">
                <a:solidFill>
                  <a:schemeClr val="tx2"/>
                </a:solidFill>
                <a:latin typeface="Roboto" panose="02000000000000000000" pitchFamily="2" charset="0"/>
                <a:ea typeface="Roboto" panose="02000000000000000000" pitchFamily="2" charset="0"/>
              </a:rPr>
              <a:t>Gene therapy </a:t>
            </a:r>
          </a:p>
          <a:p>
            <a:r>
              <a:rPr lang="en-US" sz="1600" b="1">
                <a:solidFill>
                  <a:schemeClr val="tx2"/>
                </a:solidFill>
                <a:latin typeface="Roboto" panose="02000000000000000000" pitchFamily="2" charset="0"/>
                <a:ea typeface="Roboto" panose="02000000000000000000" pitchFamily="2" charset="0"/>
              </a:rPr>
              <a:t>(GTMP)</a:t>
            </a:r>
          </a:p>
        </p:txBody>
      </p:sp>
      <p:sp>
        <p:nvSpPr>
          <p:cNvPr id="14" name="TextBox 13">
            <a:extLst>
              <a:ext uri="{FF2B5EF4-FFF2-40B4-BE49-F238E27FC236}">
                <a16:creationId xmlns:a16="http://schemas.microsoft.com/office/drawing/2014/main" id="{586339D7-D0B9-604C-BECD-96D3F7274F41}"/>
              </a:ext>
            </a:extLst>
          </p:cNvPr>
          <p:cNvSpPr txBox="1"/>
          <p:nvPr/>
        </p:nvSpPr>
        <p:spPr>
          <a:xfrm>
            <a:off x="3424657" y="2753074"/>
            <a:ext cx="2412763" cy="584775"/>
          </a:xfrm>
          <a:prstGeom prst="rect">
            <a:avLst/>
          </a:prstGeom>
          <a:noFill/>
        </p:spPr>
        <p:txBody>
          <a:bodyPr wrap="square" rtlCol="0">
            <a:spAutoFit/>
          </a:bodyPr>
          <a:lstStyle/>
          <a:p>
            <a:r>
              <a:rPr lang="en-US" sz="1600" b="1">
                <a:solidFill>
                  <a:schemeClr val="tx2"/>
                </a:solidFill>
                <a:latin typeface="Roboto" panose="02000000000000000000" pitchFamily="2" charset="0"/>
                <a:ea typeface="Roboto" panose="02000000000000000000" pitchFamily="2" charset="0"/>
              </a:rPr>
              <a:t>Somatic cell therapy (</a:t>
            </a:r>
            <a:r>
              <a:rPr lang="en-US" sz="1600" b="1" err="1">
                <a:solidFill>
                  <a:schemeClr val="tx2"/>
                </a:solidFill>
                <a:latin typeface="Roboto" panose="02000000000000000000" pitchFamily="2" charset="0"/>
                <a:ea typeface="Roboto" panose="02000000000000000000" pitchFamily="2" charset="0"/>
              </a:rPr>
              <a:t>sCTMP</a:t>
            </a:r>
            <a:r>
              <a:rPr lang="en-US" sz="1600" b="1">
                <a:solidFill>
                  <a:schemeClr val="tx2"/>
                </a:solidFill>
                <a:latin typeface="Roboto" panose="02000000000000000000" pitchFamily="2" charset="0"/>
                <a:ea typeface="Roboto" panose="02000000000000000000" pitchFamily="2" charset="0"/>
              </a:rPr>
              <a:t>)</a:t>
            </a:r>
          </a:p>
        </p:txBody>
      </p:sp>
      <p:sp>
        <p:nvSpPr>
          <p:cNvPr id="15" name="TextBox 14">
            <a:extLst>
              <a:ext uri="{FF2B5EF4-FFF2-40B4-BE49-F238E27FC236}">
                <a16:creationId xmlns:a16="http://schemas.microsoft.com/office/drawing/2014/main" id="{D95B5BA4-53DD-D948-9760-2CF44B6268B9}"/>
              </a:ext>
            </a:extLst>
          </p:cNvPr>
          <p:cNvSpPr txBox="1"/>
          <p:nvPr/>
        </p:nvSpPr>
        <p:spPr>
          <a:xfrm>
            <a:off x="6027598" y="2753074"/>
            <a:ext cx="2942723" cy="584775"/>
          </a:xfrm>
          <a:prstGeom prst="rect">
            <a:avLst/>
          </a:prstGeom>
          <a:noFill/>
        </p:spPr>
        <p:txBody>
          <a:bodyPr wrap="square" rtlCol="0">
            <a:spAutoFit/>
          </a:bodyPr>
          <a:lstStyle/>
          <a:p>
            <a:r>
              <a:rPr lang="en-US" sz="1600" b="1">
                <a:solidFill>
                  <a:schemeClr val="tx2"/>
                </a:solidFill>
                <a:latin typeface="Roboto" panose="02000000000000000000" pitchFamily="2" charset="0"/>
                <a:ea typeface="Roboto" panose="02000000000000000000" pitchFamily="2" charset="0"/>
              </a:rPr>
              <a:t>Tissue engineered product (TEPs)</a:t>
            </a:r>
          </a:p>
        </p:txBody>
      </p:sp>
      <p:cxnSp>
        <p:nvCxnSpPr>
          <p:cNvPr id="24" name="Straight Connector 23">
            <a:extLst>
              <a:ext uri="{FF2B5EF4-FFF2-40B4-BE49-F238E27FC236}">
                <a16:creationId xmlns:a16="http://schemas.microsoft.com/office/drawing/2014/main" id="{76A3455E-E65C-0D4F-9CE9-A06064F76D54}"/>
              </a:ext>
            </a:extLst>
          </p:cNvPr>
          <p:cNvCxnSpPr>
            <a:cxnSpLocks/>
          </p:cNvCxnSpPr>
          <p:nvPr/>
        </p:nvCxnSpPr>
        <p:spPr>
          <a:xfrm flipH="1">
            <a:off x="849948" y="3305819"/>
            <a:ext cx="223836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9B38A3C-C490-DC42-A7A8-46D6A6F377CE}"/>
              </a:ext>
            </a:extLst>
          </p:cNvPr>
          <p:cNvCxnSpPr>
            <a:cxnSpLocks/>
          </p:cNvCxnSpPr>
          <p:nvPr/>
        </p:nvCxnSpPr>
        <p:spPr>
          <a:xfrm flipH="1">
            <a:off x="3511856" y="3305819"/>
            <a:ext cx="223836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7B82528-23AC-7740-B54E-6EC9F33A60AE}"/>
              </a:ext>
            </a:extLst>
          </p:cNvPr>
          <p:cNvCxnSpPr>
            <a:cxnSpLocks/>
          </p:cNvCxnSpPr>
          <p:nvPr/>
        </p:nvCxnSpPr>
        <p:spPr>
          <a:xfrm flipH="1">
            <a:off x="6097232" y="3305819"/>
            <a:ext cx="223836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DD2AA0C-5855-3F40-9CC7-9DE76286D972}"/>
              </a:ext>
            </a:extLst>
          </p:cNvPr>
          <p:cNvCxnSpPr>
            <a:cxnSpLocks/>
          </p:cNvCxnSpPr>
          <p:nvPr/>
        </p:nvCxnSpPr>
        <p:spPr>
          <a:xfrm flipH="1">
            <a:off x="8922116" y="3305819"/>
            <a:ext cx="2238364"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66693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173DD-1C6A-524C-AC25-0A6373F21E27}"/>
              </a:ext>
            </a:extLst>
          </p:cNvPr>
          <p:cNvSpPr>
            <a:spLocks noGrp="1"/>
          </p:cNvSpPr>
          <p:nvPr>
            <p:ph type="title"/>
          </p:nvPr>
        </p:nvSpPr>
        <p:spPr/>
        <p:txBody>
          <a:bodyPr>
            <a:noAutofit/>
          </a:bodyPr>
          <a:lstStyle/>
          <a:p>
            <a:r>
              <a:rPr lang="en-US">
                <a:ea typeface="Roboto" panose="02000000000000000000" pitchFamily="2" charset="0"/>
              </a:rPr>
              <a:t>Novel tech gives rise to new treatments</a:t>
            </a:r>
          </a:p>
        </p:txBody>
      </p:sp>
      <p:sp>
        <p:nvSpPr>
          <p:cNvPr id="4" name="Rectangle 3">
            <a:extLst>
              <a:ext uri="{FF2B5EF4-FFF2-40B4-BE49-F238E27FC236}">
                <a16:creationId xmlns:a16="http://schemas.microsoft.com/office/drawing/2014/main" id="{69D2A4B3-2406-7D4A-B44D-9165A0C4F601}"/>
              </a:ext>
            </a:extLst>
          </p:cNvPr>
          <p:cNvSpPr/>
          <p:nvPr/>
        </p:nvSpPr>
        <p:spPr>
          <a:xfrm>
            <a:off x="3742379" y="2157721"/>
            <a:ext cx="7609833" cy="7375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GB" sz="1600">
                <a:solidFill>
                  <a:schemeClr val="bg1"/>
                </a:solidFill>
              </a:rPr>
              <a:t>Kymriah is an </a:t>
            </a:r>
            <a:r>
              <a:rPr lang="en-GB" sz="1600" b="1">
                <a:solidFill>
                  <a:schemeClr val="bg1"/>
                </a:solidFill>
              </a:rPr>
              <a:t>e</a:t>
            </a:r>
            <a:r>
              <a:rPr lang="en-SE" sz="1600" b="1">
                <a:solidFill>
                  <a:schemeClr val="bg1"/>
                </a:solidFill>
              </a:rPr>
              <a:t>x-vivo </a:t>
            </a:r>
            <a:r>
              <a:rPr lang="en-SE" sz="1600">
                <a:solidFill>
                  <a:schemeClr val="bg1"/>
                </a:solidFill>
              </a:rPr>
              <a:t>gene therapy for leukemia. The patients own cells are extracted, genetically modified and then reinserted.</a:t>
            </a:r>
          </a:p>
        </p:txBody>
      </p:sp>
      <p:sp>
        <p:nvSpPr>
          <p:cNvPr id="3" name="Hexagon 2">
            <a:extLst>
              <a:ext uri="{FF2B5EF4-FFF2-40B4-BE49-F238E27FC236}">
                <a16:creationId xmlns:a16="http://schemas.microsoft.com/office/drawing/2014/main" id="{700E9532-132D-7E43-B551-8AF0592C12A1}"/>
              </a:ext>
            </a:extLst>
          </p:cNvPr>
          <p:cNvSpPr/>
          <p:nvPr/>
        </p:nvSpPr>
        <p:spPr>
          <a:xfrm>
            <a:off x="1828801" y="2151751"/>
            <a:ext cx="2143596" cy="737591"/>
          </a:xfrm>
          <a:prstGeom prst="hexagon">
            <a:avLst>
              <a:gd name="adj" fmla="val 28579"/>
              <a:gd name="vf" fmla="val 115470"/>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algn="ctr"/>
            <a:endParaRPr lang="en-SE"/>
          </a:p>
        </p:txBody>
      </p:sp>
      <p:sp>
        <p:nvSpPr>
          <p:cNvPr id="7" name="TextBox 6">
            <a:extLst>
              <a:ext uri="{FF2B5EF4-FFF2-40B4-BE49-F238E27FC236}">
                <a16:creationId xmlns:a16="http://schemas.microsoft.com/office/drawing/2014/main" id="{167D5B5A-5FBA-7F4B-9467-7B33DD4566C6}"/>
              </a:ext>
            </a:extLst>
          </p:cNvPr>
          <p:cNvSpPr txBox="1"/>
          <p:nvPr/>
        </p:nvSpPr>
        <p:spPr>
          <a:xfrm>
            <a:off x="2248192" y="2280193"/>
            <a:ext cx="1510770" cy="461665"/>
          </a:xfrm>
          <a:prstGeom prst="rect">
            <a:avLst/>
          </a:prstGeom>
          <a:noFill/>
        </p:spPr>
        <p:txBody>
          <a:bodyPr wrap="square" rtlCol="0">
            <a:spAutoFit/>
          </a:bodyPr>
          <a:lstStyle/>
          <a:p>
            <a:pPr algn="ctr"/>
            <a:r>
              <a:rPr lang="en-SE" sz="2400" b="1" i="1">
                <a:solidFill>
                  <a:schemeClr val="bg1"/>
                </a:solidFill>
              </a:rPr>
              <a:t>KYMRIAH</a:t>
            </a:r>
            <a:endParaRPr lang="en-SE" b="1" i="1">
              <a:solidFill>
                <a:schemeClr val="bg1"/>
              </a:solidFill>
            </a:endParaRPr>
          </a:p>
        </p:txBody>
      </p:sp>
      <p:sp>
        <p:nvSpPr>
          <p:cNvPr id="23" name="Rectangle 22">
            <a:extLst>
              <a:ext uri="{FF2B5EF4-FFF2-40B4-BE49-F238E27FC236}">
                <a16:creationId xmlns:a16="http://schemas.microsoft.com/office/drawing/2014/main" id="{36CF2A7E-352C-3346-9A53-754874E3FD71}"/>
              </a:ext>
            </a:extLst>
          </p:cNvPr>
          <p:cNvSpPr/>
          <p:nvPr/>
        </p:nvSpPr>
        <p:spPr>
          <a:xfrm>
            <a:off x="3758961" y="4324729"/>
            <a:ext cx="7593252" cy="7342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SE" sz="1600">
                <a:solidFill>
                  <a:schemeClr val="bg1"/>
                </a:solidFill>
              </a:rPr>
              <a:t>Holoclar is a treatment where stem cell are used to </a:t>
            </a:r>
            <a:r>
              <a:rPr lang="en-SE" sz="1600" b="1">
                <a:solidFill>
                  <a:schemeClr val="bg1"/>
                </a:solidFill>
              </a:rPr>
              <a:t>replace </a:t>
            </a:r>
            <a:r>
              <a:rPr lang="en-SE" sz="1600">
                <a:solidFill>
                  <a:schemeClr val="bg1"/>
                </a:solidFill>
              </a:rPr>
              <a:t>damaged cells on the surface of the cornea of the eye. </a:t>
            </a:r>
          </a:p>
        </p:txBody>
      </p:sp>
      <p:sp>
        <p:nvSpPr>
          <p:cNvPr id="13" name="Hexagon 12">
            <a:extLst>
              <a:ext uri="{FF2B5EF4-FFF2-40B4-BE49-F238E27FC236}">
                <a16:creationId xmlns:a16="http://schemas.microsoft.com/office/drawing/2014/main" id="{D842D4DD-0833-9D43-A07E-418D710D235B}"/>
              </a:ext>
            </a:extLst>
          </p:cNvPr>
          <p:cNvSpPr/>
          <p:nvPr/>
        </p:nvSpPr>
        <p:spPr>
          <a:xfrm>
            <a:off x="1828801" y="4324775"/>
            <a:ext cx="2152293" cy="734250"/>
          </a:xfrm>
          <a:prstGeom prst="hexagon">
            <a:avLst>
              <a:gd name="adj" fmla="val 28579"/>
              <a:gd name="vf" fmla="val 115470"/>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algn="ctr"/>
            <a:endParaRPr lang="en-SE"/>
          </a:p>
        </p:txBody>
      </p:sp>
      <p:sp>
        <p:nvSpPr>
          <p:cNvPr id="27" name="TextBox 26">
            <a:extLst>
              <a:ext uri="{FF2B5EF4-FFF2-40B4-BE49-F238E27FC236}">
                <a16:creationId xmlns:a16="http://schemas.microsoft.com/office/drawing/2014/main" id="{050856C1-35EC-CA47-A482-05C964DC4E19}"/>
              </a:ext>
            </a:extLst>
          </p:cNvPr>
          <p:cNvSpPr txBox="1"/>
          <p:nvPr/>
        </p:nvSpPr>
        <p:spPr>
          <a:xfrm>
            <a:off x="2219429" y="4474498"/>
            <a:ext cx="1588285" cy="382663"/>
          </a:xfrm>
          <a:prstGeom prst="rect">
            <a:avLst/>
          </a:prstGeom>
          <a:noFill/>
        </p:spPr>
        <p:txBody>
          <a:bodyPr wrap="square" rtlCol="0">
            <a:spAutoFit/>
          </a:bodyPr>
          <a:lstStyle/>
          <a:p>
            <a:pPr algn="ctr"/>
            <a:r>
              <a:rPr lang="en-SE" sz="2400" b="1" i="1">
                <a:solidFill>
                  <a:schemeClr val="bg1"/>
                </a:solidFill>
              </a:rPr>
              <a:t>HOLOCLAR</a:t>
            </a:r>
          </a:p>
        </p:txBody>
      </p:sp>
      <p:sp>
        <p:nvSpPr>
          <p:cNvPr id="24" name="Rectangle 23">
            <a:extLst>
              <a:ext uri="{FF2B5EF4-FFF2-40B4-BE49-F238E27FC236}">
                <a16:creationId xmlns:a16="http://schemas.microsoft.com/office/drawing/2014/main" id="{E80FB3A9-A206-0441-B38D-FF15013FBBCA}"/>
              </a:ext>
            </a:extLst>
          </p:cNvPr>
          <p:cNvSpPr/>
          <p:nvPr/>
        </p:nvSpPr>
        <p:spPr>
          <a:xfrm>
            <a:off x="3742379" y="5407924"/>
            <a:ext cx="7609833" cy="7375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SE" sz="1600">
                <a:solidFill>
                  <a:schemeClr val="bg1"/>
                </a:solidFill>
              </a:rPr>
              <a:t>PEC-Encap is a combined treatment for diabetes. Matured stem cells are loaded into a </a:t>
            </a:r>
            <a:r>
              <a:rPr lang="en-SE" sz="1600" b="1">
                <a:solidFill>
                  <a:schemeClr val="bg1"/>
                </a:solidFill>
              </a:rPr>
              <a:t>device, </a:t>
            </a:r>
            <a:r>
              <a:rPr lang="en-SE" sz="1600">
                <a:solidFill>
                  <a:schemeClr val="bg1"/>
                </a:solidFill>
              </a:rPr>
              <a:t>where they produce insulin to regulate glucose level. </a:t>
            </a:r>
          </a:p>
        </p:txBody>
      </p:sp>
      <p:sp>
        <p:nvSpPr>
          <p:cNvPr id="15" name="Hexagon 14">
            <a:extLst>
              <a:ext uri="{FF2B5EF4-FFF2-40B4-BE49-F238E27FC236}">
                <a16:creationId xmlns:a16="http://schemas.microsoft.com/office/drawing/2014/main" id="{0E122CC0-82CD-434A-A094-F3D8C3DB55C7}"/>
              </a:ext>
            </a:extLst>
          </p:cNvPr>
          <p:cNvSpPr/>
          <p:nvPr/>
        </p:nvSpPr>
        <p:spPr>
          <a:xfrm>
            <a:off x="1828801" y="5407924"/>
            <a:ext cx="2131485" cy="738876"/>
          </a:xfrm>
          <a:prstGeom prst="hexagon">
            <a:avLst>
              <a:gd name="adj" fmla="val 28579"/>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8" name="TextBox 27">
            <a:extLst>
              <a:ext uri="{FF2B5EF4-FFF2-40B4-BE49-F238E27FC236}">
                <a16:creationId xmlns:a16="http://schemas.microsoft.com/office/drawing/2014/main" id="{C551AD2B-AEE5-2F4F-9575-A848E7C843D3}"/>
              </a:ext>
            </a:extLst>
          </p:cNvPr>
          <p:cNvSpPr txBox="1"/>
          <p:nvPr/>
        </p:nvSpPr>
        <p:spPr>
          <a:xfrm>
            <a:off x="2207316" y="5585732"/>
            <a:ext cx="1600397" cy="461665"/>
          </a:xfrm>
          <a:prstGeom prst="rect">
            <a:avLst/>
          </a:prstGeom>
          <a:noFill/>
        </p:spPr>
        <p:txBody>
          <a:bodyPr wrap="square" rtlCol="0">
            <a:spAutoFit/>
          </a:bodyPr>
          <a:lstStyle/>
          <a:p>
            <a:pPr algn="ctr"/>
            <a:r>
              <a:rPr lang="en-SE" sz="2400" b="1" i="1">
                <a:solidFill>
                  <a:schemeClr val="bg1"/>
                </a:solidFill>
              </a:rPr>
              <a:t>PEC-ENCAP</a:t>
            </a:r>
          </a:p>
        </p:txBody>
      </p:sp>
      <p:sp>
        <p:nvSpPr>
          <p:cNvPr id="22" name="Rectangle 21">
            <a:extLst>
              <a:ext uri="{FF2B5EF4-FFF2-40B4-BE49-F238E27FC236}">
                <a16:creationId xmlns:a16="http://schemas.microsoft.com/office/drawing/2014/main" id="{A1492D10-683C-644B-97F8-D82753A23D19}"/>
              </a:ext>
            </a:extLst>
          </p:cNvPr>
          <p:cNvSpPr/>
          <p:nvPr/>
        </p:nvSpPr>
        <p:spPr>
          <a:xfrm>
            <a:off x="3742379" y="3238240"/>
            <a:ext cx="7609833" cy="7375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SE" sz="1600">
                <a:solidFill>
                  <a:schemeClr val="bg1"/>
                </a:solidFill>
              </a:rPr>
              <a:t>Apligraf is a cell therapy for wound ulcers. It works through growth factors being secreted from transplanted tissue to </a:t>
            </a:r>
            <a:r>
              <a:rPr lang="en-SE" sz="1600" b="1">
                <a:solidFill>
                  <a:schemeClr val="bg1"/>
                </a:solidFill>
              </a:rPr>
              <a:t>support </a:t>
            </a:r>
            <a:r>
              <a:rPr lang="en-SE" sz="1600">
                <a:solidFill>
                  <a:schemeClr val="bg1"/>
                </a:solidFill>
              </a:rPr>
              <a:t>formation of new skin. </a:t>
            </a:r>
          </a:p>
        </p:txBody>
      </p:sp>
      <p:sp>
        <p:nvSpPr>
          <p:cNvPr id="20" name="Hexagon 14">
            <a:extLst>
              <a:ext uri="{FF2B5EF4-FFF2-40B4-BE49-F238E27FC236}">
                <a16:creationId xmlns:a16="http://schemas.microsoft.com/office/drawing/2014/main" id="{D16AFE0A-1D86-527E-BF24-FDC35AAD3C0D}"/>
              </a:ext>
            </a:extLst>
          </p:cNvPr>
          <p:cNvSpPr/>
          <p:nvPr/>
        </p:nvSpPr>
        <p:spPr>
          <a:xfrm>
            <a:off x="1828801" y="3238654"/>
            <a:ext cx="2120021" cy="737061"/>
          </a:xfrm>
          <a:prstGeom prst="hexagon">
            <a:avLst>
              <a:gd name="adj" fmla="val 28579"/>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6" name="TextBox 25">
            <a:extLst>
              <a:ext uri="{FF2B5EF4-FFF2-40B4-BE49-F238E27FC236}">
                <a16:creationId xmlns:a16="http://schemas.microsoft.com/office/drawing/2014/main" id="{D523722F-C206-2542-A9D0-7A770C540DED}"/>
              </a:ext>
            </a:extLst>
          </p:cNvPr>
          <p:cNvSpPr txBox="1"/>
          <p:nvPr/>
        </p:nvSpPr>
        <p:spPr>
          <a:xfrm>
            <a:off x="2298736" y="3375229"/>
            <a:ext cx="1443643" cy="461665"/>
          </a:xfrm>
          <a:prstGeom prst="rect">
            <a:avLst/>
          </a:prstGeom>
          <a:noFill/>
        </p:spPr>
        <p:txBody>
          <a:bodyPr wrap="square" rtlCol="0">
            <a:spAutoFit/>
          </a:bodyPr>
          <a:lstStyle/>
          <a:p>
            <a:pPr algn="ctr"/>
            <a:r>
              <a:rPr lang="en-SE" sz="2400" b="1" i="1">
                <a:solidFill>
                  <a:schemeClr val="bg1"/>
                </a:solidFill>
              </a:rPr>
              <a:t>APLIGRAF</a:t>
            </a:r>
          </a:p>
        </p:txBody>
      </p:sp>
      <p:sp>
        <p:nvSpPr>
          <p:cNvPr id="25" name="Hexagon 2">
            <a:extLst>
              <a:ext uri="{FF2B5EF4-FFF2-40B4-BE49-F238E27FC236}">
                <a16:creationId xmlns:a16="http://schemas.microsoft.com/office/drawing/2014/main" id="{D0001E13-DA81-B978-5317-E7DAA9E9BBC3}"/>
              </a:ext>
            </a:extLst>
          </p:cNvPr>
          <p:cNvSpPr/>
          <p:nvPr/>
        </p:nvSpPr>
        <p:spPr>
          <a:xfrm>
            <a:off x="838199" y="2157720"/>
            <a:ext cx="1429983" cy="737591"/>
          </a:xfrm>
          <a:prstGeom prst="hexagon">
            <a:avLst>
              <a:gd name="adj" fmla="val 28579"/>
              <a:gd name="vf" fmla="val 115470"/>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algn="ctr"/>
            <a:r>
              <a:rPr lang="sv-SE" b="1">
                <a:latin typeface="Roboto" panose="02000000000000000000" pitchFamily="2" charset="0"/>
                <a:ea typeface="Roboto" panose="02000000000000000000" pitchFamily="2" charset="0"/>
              </a:rPr>
              <a:t>GTMP</a:t>
            </a:r>
            <a:endParaRPr lang="en-SE" b="1">
              <a:latin typeface="Roboto" panose="02000000000000000000" pitchFamily="2" charset="0"/>
              <a:ea typeface="Roboto" panose="02000000000000000000" pitchFamily="2" charset="0"/>
            </a:endParaRPr>
          </a:p>
        </p:txBody>
      </p:sp>
      <p:sp>
        <p:nvSpPr>
          <p:cNvPr id="33" name="Hexagon 2">
            <a:extLst>
              <a:ext uri="{FF2B5EF4-FFF2-40B4-BE49-F238E27FC236}">
                <a16:creationId xmlns:a16="http://schemas.microsoft.com/office/drawing/2014/main" id="{59845B4F-142D-E0FE-847C-4F25FC4EFEC6}"/>
              </a:ext>
            </a:extLst>
          </p:cNvPr>
          <p:cNvSpPr/>
          <p:nvPr/>
        </p:nvSpPr>
        <p:spPr>
          <a:xfrm>
            <a:off x="839788" y="3240284"/>
            <a:ext cx="1429983" cy="737591"/>
          </a:xfrm>
          <a:prstGeom prst="hexagon">
            <a:avLst>
              <a:gd name="adj" fmla="val 28579"/>
              <a:gd name="vf" fmla="val 115470"/>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algn="ctr"/>
            <a:r>
              <a:rPr lang="sv-SE" b="1" err="1">
                <a:latin typeface="Roboto" panose="02000000000000000000" pitchFamily="2" charset="0"/>
                <a:ea typeface="Roboto" panose="02000000000000000000" pitchFamily="2" charset="0"/>
              </a:rPr>
              <a:t>sCTMP</a:t>
            </a:r>
            <a:endParaRPr lang="en-SE" b="1">
              <a:latin typeface="Roboto" panose="02000000000000000000" pitchFamily="2" charset="0"/>
              <a:ea typeface="Roboto" panose="02000000000000000000" pitchFamily="2" charset="0"/>
            </a:endParaRPr>
          </a:p>
        </p:txBody>
      </p:sp>
      <p:sp>
        <p:nvSpPr>
          <p:cNvPr id="19" name="Hexagon 2">
            <a:extLst>
              <a:ext uri="{FF2B5EF4-FFF2-40B4-BE49-F238E27FC236}">
                <a16:creationId xmlns:a16="http://schemas.microsoft.com/office/drawing/2014/main" id="{EEDFDB2A-59E4-EE54-DE5C-A5AB2360CF5C}"/>
              </a:ext>
            </a:extLst>
          </p:cNvPr>
          <p:cNvSpPr/>
          <p:nvPr/>
        </p:nvSpPr>
        <p:spPr>
          <a:xfrm>
            <a:off x="838198" y="4326657"/>
            <a:ext cx="1429983" cy="737591"/>
          </a:xfrm>
          <a:prstGeom prst="hexagon">
            <a:avLst>
              <a:gd name="adj" fmla="val 28579"/>
              <a:gd name="vf" fmla="val 115470"/>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algn="ctr"/>
            <a:r>
              <a:rPr lang="sv-SE" b="1">
                <a:latin typeface="Roboto" panose="02000000000000000000" pitchFamily="2" charset="0"/>
                <a:ea typeface="Roboto" panose="02000000000000000000" pitchFamily="2" charset="0"/>
              </a:rPr>
              <a:t>TEP</a:t>
            </a:r>
            <a:endParaRPr lang="en-SE" b="1">
              <a:latin typeface="Roboto" panose="02000000000000000000" pitchFamily="2" charset="0"/>
              <a:ea typeface="Roboto" panose="02000000000000000000" pitchFamily="2" charset="0"/>
            </a:endParaRPr>
          </a:p>
        </p:txBody>
      </p:sp>
      <p:sp>
        <p:nvSpPr>
          <p:cNvPr id="21" name="Hexagon 2">
            <a:extLst>
              <a:ext uri="{FF2B5EF4-FFF2-40B4-BE49-F238E27FC236}">
                <a16:creationId xmlns:a16="http://schemas.microsoft.com/office/drawing/2014/main" id="{5F62FD76-C222-3C88-6107-3A5EEE118326}"/>
              </a:ext>
            </a:extLst>
          </p:cNvPr>
          <p:cNvSpPr/>
          <p:nvPr/>
        </p:nvSpPr>
        <p:spPr>
          <a:xfrm>
            <a:off x="858243" y="5413030"/>
            <a:ext cx="1429983" cy="737591"/>
          </a:xfrm>
          <a:prstGeom prst="hexagon">
            <a:avLst>
              <a:gd name="adj" fmla="val 28579"/>
              <a:gd name="vf" fmla="val 115470"/>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0" tIns="0" rIns="0" bIns="0" rtlCol="0" anchor="ctr"/>
          <a:lstStyle/>
          <a:p>
            <a:pPr algn="ctr"/>
            <a:r>
              <a:rPr lang="sv-SE" b="1" err="1">
                <a:latin typeface="Roboto" panose="02000000000000000000" pitchFamily="2" charset="0"/>
                <a:ea typeface="Roboto" panose="02000000000000000000" pitchFamily="2" charset="0"/>
              </a:rPr>
              <a:t>Combined</a:t>
            </a:r>
            <a:endParaRPr lang="en-SE" b="1">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6420315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a:extLst>
              <a:ext uri="{FF2B5EF4-FFF2-40B4-BE49-F238E27FC236}">
                <a16:creationId xmlns:a16="http://schemas.microsoft.com/office/drawing/2014/main" id="{8AED41DB-246A-634F-8C76-373EDFF412F1}"/>
              </a:ext>
            </a:extLst>
          </p:cNvPr>
          <p:cNvSpPr/>
          <p:nvPr/>
        </p:nvSpPr>
        <p:spPr>
          <a:xfrm>
            <a:off x="7837284" y="2362373"/>
            <a:ext cx="1507389" cy="876560"/>
          </a:xfrm>
          <a:prstGeom prst="rect">
            <a:avLst/>
          </a:prstGeom>
          <a:solidFill>
            <a:schemeClr val="bg1">
              <a:lumMod val="7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28" name="Rectangle 127">
            <a:extLst>
              <a:ext uri="{FF2B5EF4-FFF2-40B4-BE49-F238E27FC236}">
                <a16:creationId xmlns:a16="http://schemas.microsoft.com/office/drawing/2014/main" id="{3F70037B-679A-7844-BFD8-F11EED0FE51D}"/>
              </a:ext>
            </a:extLst>
          </p:cNvPr>
          <p:cNvSpPr/>
          <p:nvPr/>
        </p:nvSpPr>
        <p:spPr>
          <a:xfrm>
            <a:off x="7837284" y="3306393"/>
            <a:ext cx="1520126" cy="520223"/>
          </a:xfrm>
          <a:prstGeom prst="rect">
            <a:avLst/>
          </a:prstGeom>
          <a:solidFill>
            <a:schemeClr val="bg1">
              <a:lumMod val="7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10" name="Rectangle 109">
            <a:extLst>
              <a:ext uri="{FF2B5EF4-FFF2-40B4-BE49-F238E27FC236}">
                <a16:creationId xmlns:a16="http://schemas.microsoft.com/office/drawing/2014/main" id="{F1128E8A-1BD7-4241-87F6-09792AF51EB6}"/>
              </a:ext>
            </a:extLst>
          </p:cNvPr>
          <p:cNvSpPr/>
          <p:nvPr/>
        </p:nvSpPr>
        <p:spPr>
          <a:xfrm>
            <a:off x="5475943" y="2808266"/>
            <a:ext cx="1678767" cy="541390"/>
          </a:xfrm>
          <a:prstGeom prst="rect">
            <a:avLst/>
          </a:prstGeom>
          <a:solidFill>
            <a:schemeClr val="bg1">
              <a:lumMod val="7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9" name="Rectangle 108">
            <a:extLst>
              <a:ext uri="{FF2B5EF4-FFF2-40B4-BE49-F238E27FC236}">
                <a16:creationId xmlns:a16="http://schemas.microsoft.com/office/drawing/2014/main" id="{F2CE9602-AC09-664B-BE4E-33526DD1B733}"/>
              </a:ext>
            </a:extLst>
          </p:cNvPr>
          <p:cNvSpPr/>
          <p:nvPr/>
        </p:nvSpPr>
        <p:spPr>
          <a:xfrm>
            <a:off x="5475944" y="3789763"/>
            <a:ext cx="1661290" cy="541390"/>
          </a:xfrm>
          <a:prstGeom prst="rect">
            <a:avLst/>
          </a:prstGeom>
          <a:solidFill>
            <a:schemeClr val="bg1">
              <a:lumMod val="7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6" name="Rectangle 105">
            <a:extLst>
              <a:ext uri="{FF2B5EF4-FFF2-40B4-BE49-F238E27FC236}">
                <a16:creationId xmlns:a16="http://schemas.microsoft.com/office/drawing/2014/main" id="{873CF626-D327-6841-8FB1-95DE7D287F71}"/>
              </a:ext>
            </a:extLst>
          </p:cNvPr>
          <p:cNvSpPr/>
          <p:nvPr/>
        </p:nvSpPr>
        <p:spPr>
          <a:xfrm>
            <a:off x="5475945" y="4487213"/>
            <a:ext cx="1685792" cy="917819"/>
          </a:xfrm>
          <a:prstGeom prst="rect">
            <a:avLst/>
          </a:prstGeom>
          <a:solidFill>
            <a:schemeClr val="bg1">
              <a:lumMod val="7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7" name="Rectangle 106">
            <a:extLst>
              <a:ext uri="{FF2B5EF4-FFF2-40B4-BE49-F238E27FC236}">
                <a16:creationId xmlns:a16="http://schemas.microsoft.com/office/drawing/2014/main" id="{94DC1C64-3DA8-9247-90C1-B4893E649808}"/>
              </a:ext>
            </a:extLst>
          </p:cNvPr>
          <p:cNvSpPr/>
          <p:nvPr/>
        </p:nvSpPr>
        <p:spPr>
          <a:xfrm>
            <a:off x="5475944" y="5485238"/>
            <a:ext cx="1708969" cy="659876"/>
          </a:xfrm>
          <a:prstGeom prst="rect">
            <a:avLst/>
          </a:prstGeom>
          <a:solidFill>
            <a:schemeClr val="bg1">
              <a:lumMod val="7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04" name="Rectangle 103">
            <a:extLst>
              <a:ext uri="{FF2B5EF4-FFF2-40B4-BE49-F238E27FC236}">
                <a16:creationId xmlns:a16="http://schemas.microsoft.com/office/drawing/2014/main" id="{CE7DB774-FC12-9B40-89B1-5A4852D61CD1}"/>
              </a:ext>
            </a:extLst>
          </p:cNvPr>
          <p:cNvSpPr/>
          <p:nvPr/>
        </p:nvSpPr>
        <p:spPr>
          <a:xfrm>
            <a:off x="3378631" y="4735133"/>
            <a:ext cx="1227938" cy="876560"/>
          </a:xfrm>
          <a:prstGeom prst="rect">
            <a:avLst/>
          </a:prstGeom>
          <a:solidFill>
            <a:schemeClr val="bg1">
              <a:lumMod val="7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 name="Rectangle 8">
            <a:extLst>
              <a:ext uri="{FF2B5EF4-FFF2-40B4-BE49-F238E27FC236}">
                <a16:creationId xmlns:a16="http://schemas.microsoft.com/office/drawing/2014/main" id="{CE53201B-19E9-AF43-B979-52BBCF1653CB}"/>
              </a:ext>
            </a:extLst>
          </p:cNvPr>
          <p:cNvSpPr/>
          <p:nvPr/>
        </p:nvSpPr>
        <p:spPr>
          <a:xfrm>
            <a:off x="3374967" y="2939209"/>
            <a:ext cx="1227938" cy="1157156"/>
          </a:xfrm>
          <a:prstGeom prst="rect">
            <a:avLst/>
          </a:prstGeom>
          <a:solidFill>
            <a:schemeClr val="bg1">
              <a:lumMod val="7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graphicFrame>
        <p:nvGraphicFramePr>
          <p:cNvPr id="14" name="Objekt 13" hidden="1">
            <a:extLst>
              <a:ext uri="{FF2B5EF4-FFF2-40B4-BE49-F238E27FC236}">
                <a16:creationId xmlns:a16="http://schemas.microsoft.com/office/drawing/2014/main" id="{B3E4E519-B52B-C44E-B982-8045764B562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4" name="Objekt 13" hidden="1">
                        <a:extLst>
                          <a:ext uri="{FF2B5EF4-FFF2-40B4-BE49-F238E27FC236}">
                            <a16:creationId xmlns:a16="http://schemas.microsoft.com/office/drawing/2014/main" id="{B3E4E519-B52B-C44E-B982-8045764B562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394B662E-0E46-A449-BB60-D781148AFCF6}"/>
              </a:ext>
            </a:extLst>
          </p:cNvPr>
          <p:cNvSpPr>
            <a:spLocks noGrp="1"/>
          </p:cNvSpPr>
          <p:nvPr>
            <p:ph type="title"/>
          </p:nvPr>
        </p:nvSpPr>
        <p:spPr/>
        <p:txBody>
          <a:bodyPr>
            <a:normAutofit/>
          </a:bodyPr>
          <a:lstStyle/>
          <a:p>
            <a:r>
              <a:rPr lang="en-SE" sz="4000"/>
              <a:t>The type of ATMP can be definied from its origin and development steps</a:t>
            </a:r>
          </a:p>
        </p:txBody>
      </p:sp>
      <p:sp>
        <p:nvSpPr>
          <p:cNvPr id="10" name="Rectangle 9">
            <a:extLst>
              <a:ext uri="{FF2B5EF4-FFF2-40B4-BE49-F238E27FC236}">
                <a16:creationId xmlns:a16="http://schemas.microsoft.com/office/drawing/2014/main" id="{F8235FB9-2DE9-D645-9563-5890E1BF4F01}"/>
              </a:ext>
            </a:extLst>
          </p:cNvPr>
          <p:cNvSpPr/>
          <p:nvPr/>
        </p:nvSpPr>
        <p:spPr>
          <a:xfrm>
            <a:off x="841375" y="1890470"/>
            <a:ext cx="10512425" cy="422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E">
                <a:solidFill>
                  <a:schemeClr val="tx1"/>
                </a:solidFill>
              </a:rPr>
              <a:t>Every ATMP is based on either </a:t>
            </a:r>
            <a:r>
              <a:rPr lang="en-SE" b="1">
                <a:solidFill>
                  <a:schemeClr val="accent1"/>
                </a:solidFill>
              </a:rPr>
              <a:t>cells from a donor and/or patient</a:t>
            </a:r>
            <a:r>
              <a:rPr lang="en-SE">
                <a:solidFill>
                  <a:schemeClr val="tx1"/>
                </a:solidFill>
              </a:rPr>
              <a:t>, and/or from </a:t>
            </a:r>
            <a:r>
              <a:rPr lang="en-SE" b="1">
                <a:solidFill>
                  <a:schemeClr val="tx2"/>
                </a:solidFill>
              </a:rPr>
              <a:t>recombinant gene technology </a:t>
            </a:r>
          </a:p>
        </p:txBody>
      </p:sp>
      <p:sp>
        <p:nvSpPr>
          <p:cNvPr id="1034" name="Rectangle 1033">
            <a:extLst>
              <a:ext uri="{FF2B5EF4-FFF2-40B4-BE49-F238E27FC236}">
                <a16:creationId xmlns:a16="http://schemas.microsoft.com/office/drawing/2014/main" id="{54434AAA-DC1B-5045-8DF6-6569C0033177}"/>
              </a:ext>
            </a:extLst>
          </p:cNvPr>
          <p:cNvSpPr/>
          <p:nvPr/>
        </p:nvSpPr>
        <p:spPr>
          <a:xfrm>
            <a:off x="10000051" y="5405033"/>
            <a:ext cx="1532238" cy="73056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E" sz="1700" b="1" i="1">
                <a:solidFill>
                  <a:schemeClr val="tx1"/>
                </a:solidFill>
              </a:rPr>
              <a:t>in-vivo</a:t>
            </a:r>
            <a:r>
              <a:rPr lang="en-SE" sz="1700" b="1">
                <a:solidFill>
                  <a:schemeClr val="tx1"/>
                </a:solidFill>
              </a:rPr>
              <a:t> </a:t>
            </a:r>
          </a:p>
          <a:p>
            <a:pPr algn="ctr"/>
            <a:r>
              <a:rPr lang="en-SE" sz="1700" b="1">
                <a:solidFill>
                  <a:schemeClr val="tx1"/>
                </a:solidFill>
              </a:rPr>
              <a:t>GTMP</a:t>
            </a:r>
          </a:p>
        </p:txBody>
      </p:sp>
      <p:sp>
        <p:nvSpPr>
          <p:cNvPr id="90" name="TextBox 89">
            <a:extLst>
              <a:ext uri="{FF2B5EF4-FFF2-40B4-BE49-F238E27FC236}">
                <a16:creationId xmlns:a16="http://schemas.microsoft.com/office/drawing/2014/main" id="{36B2496A-E64F-2F40-AA3A-48AD2BEF58B7}"/>
              </a:ext>
            </a:extLst>
          </p:cNvPr>
          <p:cNvSpPr txBox="1"/>
          <p:nvPr/>
        </p:nvSpPr>
        <p:spPr>
          <a:xfrm>
            <a:off x="5485219" y="4469043"/>
            <a:ext cx="2003079" cy="954107"/>
          </a:xfrm>
          <a:prstGeom prst="rect">
            <a:avLst/>
          </a:prstGeom>
          <a:noFill/>
        </p:spPr>
        <p:txBody>
          <a:bodyPr wrap="square" rtlCol="0">
            <a:spAutoFit/>
          </a:bodyPr>
          <a:lstStyle/>
          <a:p>
            <a:r>
              <a:rPr lang="en-US" sz="1400" b="1"/>
              <a:t>The recombined </a:t>
            </a:r>
          </a:p>
          <a:p>
            <a:r>
              <a:rPr lang="en-US" sz="1400" b="1"/>
              <a:t>DNA is added to cells extracted from </a:t>
            </a:r>
          </a:p>
          <a:p>
            <a:r>
              <a:rPr lang="en-US" sz="1400" b="1"/>
              <a:t>the body</a:t>
            </a:r>
          </a:p>
        </p:txBody>
      </p:sp>
      <p:sp>
        <p:nvSpPr>
          <p:cNvPr id="99" name="Rectangle 98">
            <a:extLst>
              <a:ext uri="{FF2B5EF4-FFF2-40B4-BE49-F238E27FC236}">
                <a16:creationId xmlns:a16="http://schemas.microsoft.com/office/drawing/2014/main" id="{09C4996B-7156-A24C-AC4E-B84C944612F3}"/>
              </a:ext>
            </a:extLst>
          </p:cNvPr>
          <p:cNvSpPr/>
          <p:nvPr/>
        </p:nvSpPr>
        <p:spPr>
          <a:xfrm>
            <a:off x="9879673" y="4051517"/>
            <a:ext cx="1754659" cy="881083"/>
          </a:xfrm>
          <a:prstGeom prst="rect">
            <a:avLst/>
          </a:prstGeom>
          <a:no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E" sz="1700" b="1" i="1">
                <a:solidFill>
                  <a:schemeClr val="tx1"/>
                </a:solidFill>
              </a:rPr>
              <a:t>ex-vivo</a:t>
            </a:r>
            <a:r>
              <a:rPr lang="en-SE" sz="1700" b="1">
                <a:solidFill>
                  <a:schemeClr val="tx1"/>
                </a:solidFill>
              </a:rPr>
              <a:t> </a:t>
            </a:r>
          </a:p>
          <a:p>
            <a:pPr algn="ctr"/>
            <a:r>
              <a:rPr lang="en-SE" sz="1700" b="1">
                <a:solidFill>
                  <a:schemeClr val="tx1"/>
                </a:solidFill>
              </a:rPr>
              <a:t>GTMP</a:t>
            </a:r>
          </a:p>
        </p:txBody>
      </p:sp>
      <p:sp>
        <p:nvSpPr>
          <p:cNvPr id="1058" name="TextBox 1057">
            <a:extLst>
              <a:ext uri="{FF2B5EF4-FFF2-40B4-BE49-F238E27FC236}">
                <a16:creationId xmlns:a16="http://schemas.microsoft.com/office/drawing/2014/main" id="{72A11031-91A3-114D-A35C-ADA47C0A6E7C}"/>
              </a:ext>
            </a:extLst>
          </p:cNvPr>
          <p:cNvSpPr txBox="1"/>
          <p:nvPr/>
        </p:nvSpPr>
        <p:spPr>
          <a:xfrm>
            <a:off x="5502705" y="3789763"/>
            <a:ext cx="1754659" cy="523220"/>
          </a:xfrm>
          <a:prstGeom prst="rect">
            <a:avLst/>
          </a:prstGeom>
          <a:noFill/>
        </p:spPr>
        <p:txBody>
          <a:bodyPr wrap="square" rtlCol="0">
            <a:spAutoFit/>
          </a:bodyPr>
          <a:lstStyle/>
          <a:p>
            <a:r>
              <a:rPr lang="en-US" sz="1400" b="1"/>
              <a:t>Treated using recombinant DNA</a:t>
            </a:r>
          </a:p>
        </p:txBody>
      </p:sp>
      <p:sp>
        <p:nvSpPr>
          <p:cNvPr id="1061" name="TextBox 1060">
            <a:extLst>
              <a:ext uri="{FF2B5EF4-FFF2-40B4-BE49-F238E27FC236}">
                <a16:creationId xmlns:a16="http://schemas.microsoft.com/office/drawing/2014/main" id="{49954F71-D706-9942-B3C1-E8E1AED7B24E}"/>
              </a:ext>
            </a:extLst>
          </p:cNvPr>
          <p:cNvSpPr txBox="1"/>
          <p:nvPr/>
        </p:nvSpPr>
        <p:spPr>
          <a:xfrm>
            <a:off x="3268387" y="2927334"/>
            <a:ext cx="1433740" cy="1169551"/>
          </a:xfrm>
          <a:prstGeom prst="rect">
            <a:avLst/>
          </a:prstGeom>
          <a:noFill/>
        </p:spPr>
        <p:txBody>
          <a:bodyPr wrap="square" rtlCol="0">
            <a:spAutoFit/>
          </a:bodyPr>
          <a:lstStyle/>
          <a:p>
            <a:pPr algn="ctr"/>
            <a:r>
              <a:rPr lang="en-US" sz="1400" b="1"/>
              <a:t>Substantially manipulated cells or cells that serve a new function/use</a:t>
            </a:r>
          </a:p>
        </p:txBody>
      </p:sp>
      <p:sp>
        <p:nvSpPr>
          <p:cNvPr id="92" name="TextBox 91">
            <a:extLst>
              <a:ext uri="{FF2B5EF4-FFF2-40B4-BE49-F238E27FC236}">
                <a16:creationId xmlns:a16="http://schemas.microsoft.com/office/drawing/2014/main" id="{E2773201-072E-274C-B688-BD9E94BF823F}"/>
              </a:ext>
            </a:extLst>
          </p:cNvPr>
          <p:cNvSpPr txBox="1"/>
          <p:nvPr/>
        </p:nvSpPr>
        <p:spPr>
          <a:xfrm>
            <a:off x="7835254" y="2453770"/>
            <a:ext cx="1740567" cy="738664"/>
          </a:xfrm>
          <a:prstGeom prst="rect">
            <a:avLst/>
          </a:prstGeom>
          <a:noFill/>
        </p:spPr>
        <p:txBody>
          <a:bodyPr wrap="square" rtlCol="0">
            <a:spAutoFit/>
          </a:bodyPr>
          <a:lstStyle/>
          <a:p>
            <a:r>
              <a:rPr lang="en-SE" sz="1400" b="1"/>
              <a:t>Replace, repair or regenerate human tissue</a:t>
            </a:r>
          </a:p>
        </p:txBody>
      </p:sp>
      <p:sp>
        <p:nvSpPr>
          <p:cNvPr id="166" name="Rectangle 165">
            <a:extLst>
              <a:ext uri="{FF2B5EF4-FFF2-40B4-BE49-F238E27FC236}">
                <a16:creationId xmlns:a16="http://schemas.microsoft.com/office/drawing/2014/main" id="{216BBC56-9C4E-0342-8FCA-23C44A6C24B4}"/>
              </a:ext>
            </a:extLst>
          </p:cNvPr>
          <p:cNvSpPr/>
          <p:nvPr/>
        </p:nvSpPr>
        <p:spPr>
          <a:xfrm>
            <a:off x="9983426" y="2378160"/>
            <a:ext cx="1532238" cy="73056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E" sz="1700" b="1">
                <a:solidFill>
                  <a:schemeClr val="tx1"/>
                </a:solidFill>
              </a:rPr>
              <a:t>TEP</a:t>
            </a:r>
          </a:p>
        </p:txBody>
      </p:sp>
      <p:sp>
        <p:nvSpPr>
          <p:cNvPr id="101" name="TextBox 100">
            <a:extLst>
              <a:ext uri="{FF2B5EF4-FFF2-40B4-BE49-F238E27FC236}">
                <a16:creationId xmlns:a16="http://schemas.microsoft.com/office/drawing/2014/main" id="{C73F5917-97F1-2449-95B5-1CB9B073B6FA}"/>
              </a:ext>
            </a:extLst>
          </p:cNvPr>
          <p:cNvSpPr txBox="1"/>
          <p:nvPr/>
        </p:nvSpPr>
        <p:spPr>
          <a:xfrm>
            <a:off x="7850630" y="3303396"/>
            <a:ext cx="1621077" cy="523220"/>
          </a:xfrm>
          <a:prstGeom prst="rect">
            <a:avLst/>
          </a:prstGeom>
          <a:noFill/>
        </p:spPr>
        <p:txBody>
          <a:bodyPr wrap="square" rtlCol="0">
            <a:spAutoFit/>
          </a:bodyPr>
          <a:lstStyle/>
          <a:p>
            <a:r>
              <a:rPr lang="en-SE" sz="1400" b="1"/>
              <a:t>Treat, prevent or diagnose a disease</a:t>
            </a:r>
          </a:p>
        </p:txBody>
      </p:sp>
      <p:sp>
        <p:nvSpPr>
          <p:cNvPr id="175" name="Rectangle 174">
            <a:extLst>
              <a:ext uri="{FF2B5EF4-FFF2-40B4-BE49-F238E27FC236}">
                <a16:creationId xmlns:a16="http://schemas.microsoft.com/office/drawing/2014/main" id="{D8325302-6D0F-734D-9AF4-84330BBC9230}"/>
              </a:ext>
            </a:extLst>
          </p:cNvPr>
          <p:cNvSpPr/>
          <p:nvPr/>
        </p:nvSpPr>
        <p:spPr>
          <a:xfrm>
            <a:off x="9969602" y="3279536"/>
            <a:ext cx="1532238" cy="730564"/>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E" sz="1700" b="1">
                <a:solidFill>
                  <a:schemeClr val="tx1"/>
                </a:solidFill>
              </a:rPr>
              <a:t>sCTMP</a:t>
            </a:r>
          </a:p>
        </p:txBody>
      </p:sp>
      <p:sp>
        <p:nvSpPr>
          <p:cNvPr id="31" name="TextBox 1057">
            <a:extLst>
              <a:ext uri="{FF2B5EF4-FFF2-40B4-BE49-F238E27FC236}">
                <a16:creationId xmlns:a16="http://schemas.microsoft.com/office/drawing/2014/main" id="{51F35C31-1077-5C48-B101-D3B5A23A7480}"/>
              </a:ext>
            </a:extLst>
          </p:cNvPr>
          <p:cNvSpPr txBox="1"/>
          <p:nvPr/>
        </p:nvSpPr>
        <p:spPr>
          <a:xfrm>
            <a:off x="5506146" y="2826436"/>
            <a:ext cx="1678767" cy="523220"/>
          </a:xfrm>
          <a:prstGeom prst="rect">
            <a:avLst/>
          </a:prstGeom>
          <a:noFill/>
        </p:spPr>
        <p:txBody>
          <a:bodyPr wrap="square" rtlCol="0">
            <a:spAutoFit/>
          </a:bodyPr>
          <a:lstStyle/>
          <a:p>
            <a:r>
              <a:rPr lang="sv-SE" sz="1400" b="1"/>
              <a:t>Not t</a:t>
            </a:r>
            <a:r>
              <a:rPr lang="en-SE" sz="1400" b="1"/>
              <a:t>reated using recombinant DNA</a:t>
            </a:r>
          </a:p>
        </p:txBody>
      </p:sp>
      <p:sp>
        <p:nvSpPr>
          <p:cNvPr id="6" name="Rectangle 5">
            <a:extLst>
              <a:ext uri="{FF2B5EF4-FFF2-40B4-BE49-F238E27FC236}">
                <a16:creationId xmlns:a16="http://schemas.microsoft.com/office/drawing/2014/main" id="{3CD95A9E-8955-074E-8D10-B5875CCCF5E0}"/>
              </a:ext>
            </a:extLst>
          </p:cNvPr>
          <p:cNvSpPr/>
          <p:nvPr/>
        </p:nvSpPr>
        <p:spPr>
          <a:xfrm>
            <a:off x="3111653" y="4836851"/>
            <a:ext cx="1726119" cy="738664"/>
          </a:xfrm>
          <a:prstGeom prst="rect">
            <a:avLst/>
          </a:prstGeom>
        </p:spPr>
        <p:txBody>
          <a:bodyPr wrap="square">
            <a:spAutoFit/>
          </a:bodyPr>
          <a:lstStyle/>
          <a:p>
            <a:pPr algn="ctr"/>
            <a:r>
              <a:rPr lang="en-US" sz="1400" b="1"/>
              <a:t>Combining DNA from different</a:t>
            </a:r>
          </a:p>
          <a:p>
            <a:pPr algn="ctr"/>
            <a:r>
              <a:rPr lang="en-US" sz="1400" b="1"/>
              <a:t> sources </a:t>
            </a:r>
          </a:p>
        </p:txBody>
      </p:sp>
      <p:sp>
        <p:nvSpPr>
          <p:cNvPr id="30" name="Chevron 29">
            <a:extLst>
              <a:ext uri="{FF2B5EF4-FFF2-40B4-BE49-F238E27FC236}">
                <a16:creationId xmlns:a16="http://schemas.microsoft.com/office/drawing/2014/main" id="{3D026271-8A4C-EB48-938B-D9CF7C460FB1}"/>
              </a:ext>
            </a:extLst>
          </p:cNvPr>
          <p:cNvSpPr/>
          <p:nvPr/>
        </p:nvSpPr>
        <p:spPr>
          <a:xfrm>
            <a:off x="2440109" y="4617310"/>
            <a:ext cx="473289" cy="1191004"/>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33" name="Chevron 32">
            <a:extLst>
              <a:ext uri="{FF2B5EF4-FFF2-40B4-BE49-F238E27FC236}">
                <a16:creationId xmlns:a16="http://schemas.microsoft.com/office/drawing/2014/main" id="{0CDD781E-DC97-8548-9ACB-140E2E284575}"/>
              </a:ext>
            </a:extLst>
          </p:cNvPr>
          <p:cNvSpPr/>
          <p:nvPr/>
        </p:nvSpPr>
        <p:spPr>
          <a:xfrm>
            <a:off x="2845892" y="4713121"/>
            <a:ext cx="338282" cy="98987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34" name="TextBox 33">
            <a:extLst>
              <a:ext uri="{FF2B5EF4-FFF2-40B4-BE49-F238E27FC236}">
                <a16:creationId xmlns:a16="http://schemas.microsoft.com/office/drawing/2014/main" id="{C8D0A4FF-26A5-2447-BA74-F59F63B70D7A}"/>
              </a:ext>
            </a:extLst>
          </p:cNvPr>
          <p:cNvSpPr txBox="1"/>
          <p:nvPr/>
        </p:nvSpPr>
        <p:spPr>
          <a:xfrm>
            <a:off x="5502471" y="5451988"/>
            <a:ext cx="1910689" cy="738664"/>
          </a:xfrm>
          <a:prstGeom prst="rect">
            <a:avLst/>
          </a:prstGeom>
          <a:noFill/>
        </p:spPr>
        <p:txBody>
          <a:bodyPr wrap="square" rtlCol="0">
            <a:spAutoFit/>
          </a:bodyPr>
          <a:lstStyle/>
          <a:p>
            <a:r>
              <a:rPr lang="en-US" sz="1400" b="1"/>
              <a:t>The recombined </a:t>
            </a:r>
          </a:p>
          <a:p>
            <a:r>
              <a:rPr lang="en-US" sz="1400" b="1"/>
              <a:t>DNA is added to cells </a:t>
            </a:r>
          </a:p>
          <a:p>
            <a:r>
              <a:rPr lang="en-US" sz="1400" b="1"/>
              <a:t>inside the body</a:t>
            </a:r>
          </a:p>
        </p:txBody>
      </p:sp>
      <p:sp>
        <p:nvSpPr>
          <p:cNvPr id="7" name="Chevron 6">
            <a:extLst>
              <a:ext uri="{FF2B5EF4-FFF2-40B4-BE49-F238E27FC236}">
                <a16:creationId xmlns:a16="http://schemas.microsoft.com/office/drawing/2014/main" id="{CFA036B4-DBEA-984B-B030-36A280860737}"/>
              </a:ext>
            </a:extLst>
          </p:cNvPr>
          <p:cNvSpPr/>
          <p:nvPr/>
        </p:nvSpPr>
        <p:spPr>
          <a:xfrm rot="20963825">
            <a:off x="4733502" y="4693703"/>
            <a:ext cx="383065" cy="525886"/>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38" name="Chevron 37">
            <a:extLst>
              <a:ext uri="{FF2B5EF4-FFF2-40B4-BE49-F238E27FC236}">
                <a16:creationId xmlns:a16="http://schemas.microsoft.com/office/drawing/2014/main" id="{14EBECA5-5C85-1640-870C-A26CBA91DBFF}"/>
              </a:ext>
            </a:extLst>
          </p:cNvPr>
          <p:cNvSpPr/>
          <p:nvPr/>
        </p:nvSpPr>
        <p:spPr>
          <a:xfrm rot="1263848">
            <a:off x="4684612" y="5314283"/>
            <a:ext cx="383065" cy="525886"/>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39" name="Chevron 38">
            <a:extLst>
              <a:ext uri="{FF2B5EF4-FFF2-40B4-BE49-F238E27FC236}">
                <a16:creationId xmlns:a16="http://schemas.microsoft.com/office/drawing/2014/main" id="{E5C0E4F1-9E83-1D4E-A6DB-E21201A97B9B}"/>
              </a:ext>
            </a:extLst>
          </p:cNvPr>
          <p:cNvSpPr/>
          <p:nvPr/>
        </p:nvSpPr>
        <p:spPr>
          <a:xfrm rot="1258586">
            <a:off x="4961741" y="5440306"/>
            <a:ext cx="278015" cy="437294"/>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40" name="Chevron 39">
            <a:extLst>
              <a:ext uri="{FF2B5EF4-FFF2-40B4-BE49-F238E27FC236}">
                <a16:creationId xmlns:a16="http://schemas.microsoft.com/office/drawing/2014/main" id="{2461BFFC-C121-9541-9E81-A6D864A9A71D}"/>
              </a:ext>
            </a:extLst>
          </p:cNvPr>
          <p:cNvSpPr/>
          <p:nvPr/>
        </p:nvSpPr>
        <p:spPr>
          <a:xfrm rot="20925725">
            <a:off x="5030752" y="4686092"/>
            <a:ext cx="278015" cy="437294"/>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41" name="Chevron 40">
            <a:extLst>
              <a:ext uri="{FF2B5EF4-FFF2-40B4-BE49-F238E27FC236}">
                <a16:creationId xmlns:a16="http://schemas.microsoft.com/office/drawing/2014/main" id="{D730D496-31BD-A445-AE4D-E4FF34AF16F4}"/>
              </a:ext>
            </a:extLst>
          </p:cNvPr>
          <p:cNvSpPr/>
          <p:nvPr/>
        </p:nvSpPr>
        <p:spPr>
          <a:xfrm rot="20631780">
            <a:off x="4728829" y="2982083"/>
            <a:ext cx="383065" cy="52588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42" name="Chevron 41">
            <a:extLst>
              <a:ext uri="{FF2B5EF4-FFF2-40B4-BE49-F238E27FC236}">
                <a16:creationId xmlns:a16="http://schemas.microsoft.com/office/drawing/2014/main" id="{E3C24F62-3219-5348-97A3-8368D449C3E2}"/>
              </a:ext>
            </a:extLst>
          </p:cNvPr>
          <p:cNvSpPr/>
          <p:nvPr/>
        </p:nvSpPr>
        <p:spPr>
          <a:xfrm rot="1148652">
            <a:off x="4714445" y="3619916"/>
            <a:ext cx="383065" cy="52588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43" name="Chevron 42">
            <a:extLst>
              <a:ext uri="{FF2B5EF4-FFF2-40B4-BE49-F238E27FC236}">
                <a16:creationId xmlns:a16="http://schemas.microsoft.com/office/drawing/2014/main" id="{7C3BF357-0BF8-C741-BAB5-E536DE825A61}"/>
              </a:ext>
            </a:extLst>
          </p:cNvPr>
          <p:cNvSpPr/>
          <p:nvPr/>
        </p:nvSpPr>
        <p:spPr>
          <a:xfrm rot="1143390">
            <a:off x="5008827" y="3745939"/>
            <a:ext cx="278015" cy="43729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44" name="Chevron 43">
            <a:extLst>
              <a:ext uri="{FF2B5EF4-FFF2-40B4-BE49-F238E27FC236}">
                <a16:creationId xmlns:a16="http://schemas.microsoft.com/office/drawing/2014/main" id="{B6D88D87-7EEB-3B46-AE4B-D44E7696BC3D}"/>
              </a:ext>
            </a:extLst>
          </p:cNvPr>
          <p:cNvSpPr/>
          <p:nvPr/>
        </p:nvSpPr>
        <p:spPr>
          <a:xfrm rot="20593680">
            <a:off x="5026079" y="2957219"/>
            <a:ext cx="278015" cy="43729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8" name="Chevron 7">
            <a:extLst>
              <a:ext uri="{FF2B5EF4-FFF2-40B4-BE49-F238E27FC236}">
                <a16:creationId xmlns:a16="http://schemas.microsoft.com/office/drawing/2014/main" id="{087A12D4-B158-7E4B-A32E-1563687198E8}"/>
              </a:ext>
            </a:extLst>
          </p:cNvPr>
          <p:cNvSpPr/>
          <p:nvPr/>
        </p:nvSpPr>
        <p:spPr>
          <a:xfrm rot="20490425">
            <a:off x="7194194" y="2760096"/>
            <a:ext cx="306250" cy="254509"/>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49" name="Chevron 48">
            <a:extLst>
              <a:ext uri="{FF2B5EF4-FFF2-40B4-BE49-F238E27FC236}">
                <a16:creationId xmlns:a16="http://schemas.microsoft.com/office/drawing/2014/main" id="{EB1C317B-305B-5649-BE4A-24D7D44C29D4}"/>
              </a:ext>
            </a:extLst>
          </p:cNvPr>
          <p:cNvSpPr/>
          <p:nvPr/>
        </p:nvSpPr>
        <p:spPr>
          <a:xfrm rot="20490425">
            <a:off x="7432046" y="2688582"/>
            <a:ext cx="306250" cy="254509"/>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50" name="Chevron 49">
            <a:extLst>
              <a:ext uri="{FF2B5EF4-FFF2-40B4-BE49-F238E27FC236}">
                <a16:creationId xmlns:a16="http://schemas.microsoft.com/office/drawing/2014/main" id="{2AC2F495-C640-FA45-AB9E-D23863DD2B55}"/>
              </a:ext>
            </a:extLst>
          </p:cNvPr>
          <p:cNvSpPr/>
          <p:nvPr/>
        </p:nvSpPr>
        <p:spPr>
          <a:xfrm rot="1201148">
            <a:off x="7207360" y="3241623"/>
            <a:ext cx="306250" cy="254509"/>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51" name="Chevron 50">
            <a:extLst>
              <a:ext uri="{FF2B5EF4-FFF2-40B4-BE49-F238E27FC236}">
                <a16:creationId xmlns:a16="http://schemas.microsoft.com/office/drawing/2014/main" id="{ED7F3251-CA2D-1E4E-9DA2-CAD0CEF7845B}"/>
              </a:ext>
            </a:extLst>
          </p:cNvPr>
          <p:cNvSpPr/>
          <p:nvPr/>
        </p:nvSpPr>
        <p:spPr>
          <a:xfrm rot="1201148">
            <a:off x="7447354" y="3324267"/>
            <a:ext cx="306250" cy="254509"/>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73" name="Chevron 72">
            <a:extLst>
              <a:ext uri="{FF2B5EF4-FFF2-40B4-BE49-F238E27FC236}">
                <a16:creationId xmlns:a16="http://schemas.microsoft.com/office/drawing/2014/main" id="{9A730CBA-82ED-BF42-84A3-80E2456C552E}"/>
              </a:ext>
            </a:extLst>
          </p:cNvPr>
          <p:cNvSpPr/>
          <p:nvPr/>
        </p:nvSpPr>
        <p:spPr>
          <a:xfrm rot="1201148">
            <a:off x="7205075" y="4011875"/>
            <a:ext cx="306250" cy="254509"/>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74" name="Chevron 73">
            <a:extLst>
              <a:ext uri="{FF2B5EF4-FFF2-40B4-BE49-F238E27FC236}">
                <a16:creationId xmlns:a16="http://schemas.microsoft.com/office/drawing/2014/main" id="{C66B5E5B-826C-044E-A865-E337856A8870}"/>
              </a:ext>
            </a:extLst>
          </p:cNvPr>
          <p:cNvSpPr/>
          <p:nvPr/>
        </p:nvSpPr>
        <p:spPr>
          <a:xfrm rot="1201148">
            <a:off x="7445069" y="4094519"/>
            <a:ext cx="306250" cy="254509"/>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75" name="Chevron 74">
            <a:extLst>
              <a:ext uri="{FF2B5EF4-FFF2-40B4-BE49-F238E27FC236}">
                <a16:creationId xmlns:a16="http://schemas.microsoft.com/office/drawing/2014/main" id="{C8953534-285F-8941-98C4-4E19E02B6C81}"/>
              </a:ext>
            </a:extLst>
          </p:cNvPr>
          <p:cNvSpPr/>
          <p:nvPr/>
        </p:nvSpPr>
        <p:spPr>
          <a:xfrm rot="20490425">
            <a:off x="7446813" y="4605572"/>
            <a:ext cx="306250" cy="25450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76" name="Chevron 75">
            <a:extLst>
              <a:ext uri="{FF2B5EF4-FFF2-40B4-BE49-F238E27FC236}">
                <a16:creationId xmlns:a16="http://schemas.microsoft.com/office/drawing/2014/main" id="{3969B20A-32EC-F440-9608-57B93512020E}"/>
              </a:ext>
            </a:extLst>
          </p:cNvPr>
          <p:cNvSpPr/>
          <p:nvPr/>
        </p:nvSpPr>
        <p:spPr>
          <a:xfrm rot="20490425">
            <a:off x="7684665" y="4534058"/>
            <a:ext cx="306250" cy="25450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77" name="Chevron 76">
            <a:extLst>
              <a:ext uri="{FF2B5EF4-FFF2-40B4-BE49-F238E27FC236}">
                <a16:creationId xmlns:a16="http://schemas.microsoft.com/office/drawing/2014/main" id="{1BB2ACA0-21BC-214B-A9A1-ACFAFD2FBDEE}"/>
              </a:ext>
            </a:extLst>
          </p:cNvPr>
          <p:cNvSpPr/>
          <p:nvPr/>
        </p:nvSpPr>
        <p:spPr>
          <a:xfrm rot="1201148">
            <a:off x="7685063" y="4195682"/>
            <a:ext cx="306250" cy="254509"/>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78" name="Chevron 77">
            <a:extLst>
              <a:ext uri="{FF2B5EF4-FFF2-40B4-BE49-F238E27FC236}">
                <a16:creationId xmlns:a16="http://schemas.microsoft.com/office/drawing/2014/main" id="{F96FC36C-EFE7-8546-AE28-1B55C133F5FC}"/>
              </a:ext>
            </a:extLst>
          </p:cNvPr>
          <p:cNvSpPr/>
          <p:nvPr/>
        </p:nvSpPr>
        <p:spPr>
          <a:xfrm>
            <a:off x="8258364" y="4349637"/>
            <a:ext cx="331973" cy="26078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79" name="Chevron 78">
            <a:extLst>
              <a:ext uri="{FF2B5EF4-FFF2-40B4-BE49-F238E27FC236}">
                <a16:creationId xmlns:a16="http://schemas.microsoft.com/office/drawing/2014/main" id="{6890AA8F-2558-5B48-8408-10B60B9F64CC}"/>
              </a:ext>
            </a:extLst>
          </p:cNvPr>
          <p:cNvSpPr/>
          <p:nvPr/>
        </p:nvSpPr>
        <p:spPr>
          <a:xfrm>
            <a:off x="8531269" y="4349638"/>
            <a:ext cx="331973" cy="2524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84" name="Chevron 83">
            <a:extLst>
              <a:ext uri="{FF2B5EF4-FFF2-40B4-BE49-F238E27FC236}">
                <a16:creationId xmlns:a16="http://schemas.microsoft.com/office/drawing/2014/main" id="{A7EBB82D-CBE4-5749-8F32-7954CBFE07CB}"/>
              </a:ext>
            </a:extLst>
          </p:cNvPr>
          <p:cNvSpPr/>
          <p:nvPr/>
        </p:nvSpPr>
        <p:spPr>
          <a:xfrm>
            <a:off x="8792903" y="4350286"/>
            <a:ext cx="331973" cy="26078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85" name="Chevron 84">
            <a:extLst>
              <a:ext uri="{FF2B5EF4-FFF2-40B4-BE49-F238E27FC236}">
                <a16:creationId xmlns:a16="http://schemas.microsoft.com/office/drawing/2014/main" id="{9C7BA561-6E1D-1943-8275-B29299790DD6}"/>
              </a:ext>
            </a:extLst>
          </p:cNvPr>
          <p:cNvSpPr/>
          <p:nvPr/>
        </p:nvSpPr>
        <p:spPr>
          <a:xfrm>
            <a:off x="9082433" y="4350287"/>
            <a:ext cx="331973" cy="2524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86" name="Chevron 85">
            <a:extLst>
              <a:ext uri="{FF2B5EF4-FFF2-40B4-BE49-F238E27FC236}">
                <a16:creationId xmlns:a16="http://schemas.microsoft.com/office/drawing/2014/main" id="{D2F404C8-D3FE-864C-B010-FEB33CD30104}"/>
              </a:ext>
            </a:extLst>
          </p:cNvPr>
          <p:cNvSpPr/>
          <p:nvPr/>
        </p:nvSpPr>
        <p:spPr>
          <a:xfrm>
            <a:off x="9375440" y="4336316"/>
            <a:ext cx="331973" cy="26078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87" name="Chevron 86">
            <a:extLst>
              <a:ext uri="{FF2B5EF4-FFF2-40B4-BE49-F238E27FC236}">
                <a16:creationId xmlns:a16="http://schemas.microsoft.com/office/drawing/2014/main" id="{F7539151-729B-054A-B914-BD4D5116CC25}"/>
              </a:ext>
            </a:extLst>
          </p:cNvPr>
          <p:cNvSpPr/>
          <p:nvPr/>
        </p:nvSpPr>
        <p:spPr>
          <a:xfrm>
            <a:off x="9664970" y="4336317"/>
            <a:ext cx="331973" cy="2524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05" name="Chevron 104">
            <a:extLst>
              <a:ext uri="{FF2B5EF4-FFF2-40B4-BE49-F238E27FC236}">
                <a16:creationId xmlns:a16="http://schemas.microsoft.com/office/drawing/2014/main" id="{EFA99162-B5B0-F84D-BBC7-5853C015D1D1}"/>
              </a:ext>
            </a:extLst>
          </p:cNvPr>
          <p:cNvSpPr/>
          <p:nvPr/>
        </p:nvSpPr>
        <p:spPr>
          <a:xfrm rot="20490425">
            <a:off x="7216832" y="4691472"/>
            <a:ext cx="306250" cy="25450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08" name="Chevron 107">
            <a:extLst>
              <a:ext uri="{FF2B5EF4-FFF2-40B4-BE49-F238E27FC236}">
                <a16:creationId xmlns:a16="http://schemas.microsoft.com/office/drawing/2014/main" id="{B79D61ED-53F8-7940-A853-0D21F414A5D8}"/>
              </a:ext>
            </a:extLst>
          </p:cNvPr>
          <p:cNvSpPr/>
          <p:nvPr/>
        </p:nvSpPr>
        <p:spPr>
          <a:xfrm>
            <a:off x="7984841" y="4351795"/>
            <a:ext cx="331973" cy="2524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11" name="Chevron 110">
            <a:extLst>
              <a:ext uri="{FF2B5EF4-FFF2-40B4-BE49-F238E27FC236}">
                <a16:creationId xmlns:a16="http://schemas.microsoft.com/office/drawing/2014/main" id="{83A5D7E2-F194-8641-BF37-440A5873B6C9}"/>
              </a:ext>
            </a:extLst>
          </p:cNvPr>
          <p:cNvSpPr/>
          <p:nvPr/>
        </p:nvSpPr>
        <p:spPr>
          <a:xfrm>
            <a:off x="7519196" y="5714256"/>
            <a:ext cx="331973" cy="26078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12" name="Chevron 111">
            <a:extLst>
              <a:ext uri="{FF2B5EF4-FFF2-40B4-BE49-F238E27FC236}">
                <a16:creationId xmlns:a16="http://schemas.microsoft.com/office/drawing/2014/main" id="{EBC5AC3C-5549-5041-9BD2-9DB97D81E52F}"/>
              </a:ext>
            </a:extLst>
          </p:cNvPr>
          <p:cNvSpPr/>
          <p:nvPr/>
        </p:nvSpPr>
        <p:spPr>
          <a:xfrm>
            <a:off x="8053735" y="5714905"/>
            <a:ext cx="331973" cy="26078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13" name="Chevron 112">
            <a:extLst>
              <a:ext uri="{FF2B5EF4-FFF2-40B4-BE49-F238E27FC236}">
                <a16:creationId xmlns:a16="http://schemas.microsoft.com/office/drawing/2014/main" id="{59A18E52-1833-B145-84C6-2F0F8666E4DB}"/>
              </a:ext>
            </a:extLst>
          </p:cNvPr>
          <p:cNvSpPr/>
          <p:nvPr/>
        </p:nvSpPr>
        <p:spPr>
          <a:xfrm>
            <a:off x="8326332" y="5714906"/>
            <a:ext cx="331973" cy="252406"/>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14" name="Chevron 113">
            <a:extLst>
              <a:ext uri="{FF2B5EF4-FFF2-40B4-BE49-F238E27FC236}">
                <a16:creationId xmlns:a16="http://schemas.microsoft.com/office/drawing/2014/main" id="{327F9D0B-09AC-724F-9C42-715FA91ABF16}"/>
              </a:ext>
            </a:extLst>
          </p:cNvPr>
          <p:cNvSpPr/>
          <p:nvPr/>
        </p:nvSpPr>
        <p:spPr>
          <a:xfrm>
            <a:off x="8602406" y="5717868"/>
            <a:ext cx="331973" cy="26078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15" name="Chevron 114">
            <a:extLst>
              <a:ext uri="{FF2B5EF4-FFF2-40B4-BE49-F238E27FC236}">
                <a16:creationId xmlns:a16="http://schemas.microsoft.com/office/drawing/2014/main" id="{A8F2504C-E303-3C42-8BA4-76632289D1FE}"/>
              </a:ext>
            </a:extLst>
          </p:cNvPr>
          <p:cNvSpPr/>
          <p:nvPr/>
        </p:nvSpPr>
        <p:spPr>
          <a:xfrm>
            <a:off x="8875003" y="5717869"/>
            <a:ext cx="331973" cy="252406"/>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17" name="Chevron 116">
            <a:extLst>
              <a:ext uri="{FF2B5EF4-FFF2-40B4-BE49-F238E27FC236}">
                <a16:creationId xmlns:a16="http://schemas.microsoft.com/office/drawing/2014/main" id="{AB7AF5B9-684B-AF45-AAB1-6A3A918C239D}"/>
              </a:ext>
            </a:extLst>
          </p:cNvPr>
          <p:cNvSpPr/>
          <p:nvPr/>
        </p:nvSpPr>
        <p:spPr>
          <a:xfrm>
            <a:off x="7787973" y="5717031"/>
            <a:ext cx="331973" cy="26078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18" name="Chevron 117">
            <a:extLst>
              <a:ext uri="{FF2B5EF4-FFF2-40B4-BE49-F238E27FC236}">
                <a16:creationId xmlns:a16="http://schemas.microsoft.com/office/drawing/2014/main" id="{24688AF3-52E3-A043-950D-97FAEFFD5715}"/>
              </a:ext>
            </a:extLst>
          </p:cNvPr>
          <p:cNvSpPr/>
          <p:nvPr/>
        </p:nvSpPr>
        <p:spPr>
          <a:xfrm>
            <a:off x="9147371" y="5719108"/>
            <a:ext cx="331973" cy="252406"/>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19" name="Chevron 118">
            <a:extLst>
              <a:ext uri="{FF2B5EF4-FFF2-40B4-BE49-F238E27FC236}">
                <a16:creationId xmlns:a16="http://schemas.microsoft.com/office/drawing/2014/main" id="{497FDDA0-0CAF-2747-856A-7315382D2022}"/>
              </a:ext>
            </a:extLst>
          </p:cNvPr>
          <p:cNvSpPr/>
          <p:nvPr/>
        </p:nvSpPr>
        <p:spPr>
          <a:xfrm>
            <a:off x="9423445" y="5705137"/>
            <a:ext cx="331973" cy="26078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20" name="Chevron 119">
            <a:extLst>
              <a:ext uri="{FF2B5EF4-FFF2-40B4-BE49-F238E27FC236}">
                <a16:creationId xmlns:a16="http://schemas.microsoft.com/office/drawing/2014/main" id="{07333F06-CA1E-354B-BF58-68978E1BABA4}"/>
              </a:ext>
            </a:extLst>
          </p:cNvPr>
          <p:cNvSpPr/>
          <p:nvPr/>
        </p:nvSpPr>
        <p:spPr>
          <a:xfrm>
            <a:off x="9696042" y="5705138"/>
            <a:ext cx="331973" cy="252406"/>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21" name="Chevron 120">
            <a:extLst>
              <a:ext uri="{FF2B5EF4-FFF2-40B4-BE49-F238E27FC236}">
                <a16:creationId xmlns:a16="http://schemas.microsoft.com/office/drawing/2014/main" id="{7D9BCFB3-0E04-614D-894C-6809C6EB2658}"/>
              </a:ext>
            </a:extLst>
          </p:cNvPr>
          <p:cNvSpPr/>
          <p:nvPr/>
        </p:nvSpPr>
        <p:spPr>
          <a:xfrm>
            <a:off x="9359056" y="3442134"/>
            <a:ext cx="331973" cy="26078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22" name="Chevron 121">
            <a:extLst>
              <a:ext uri="{FF2B5EF4-FFF2-40B4-BE49-F238E27FC236}">
                <a16:creationId xmlns:a16="http://schemas.microsoft.com/office/drawing/2014/main" id="{80F6E6EB-417C-B640-9A53-5EE8BFD83FB1}"/>
              </a:ext>
            </a:extLst>
          </p:cNvPr>
          <p:cNvSpPr/>
          <p:nvPr/>
        </p:nvSpPr>
        <p:spPr>
          <a:xfrm>
            <a:off x="9648586" y="3442135"/>
            <a:ext cx="331973" cy="2524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23" name="Chevron 122">
            <a:extLst>
              <a:ext uri="{FF2B5EF4-FFF2-40B4-BE49-F238E27FC236}">
                <a16:creationId xmlns:a16="http://schemas.microsoft.com/office/drawing/2014/main" id="{EDE515C0-7453-644C-8205-1474BD4D91DD}"/>
              </a:ext>
            </a:extLst>
          </p:cNvPr>
          <p:cNvSpPr/>
          <p:nvPr/>
        </p:nvSpPr>
        <p:spPr>
          <a:xfrm>
            <a:off x="9359056" y="2594032"/>
            <a:ext cx="331973" cy="26078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24" name="Chevron 123">
            <a:extLst>
              <a:ext uri="{FF2B5EF4-FFF2-40B4-BE49-F238E27FC236}">
                <a16:creationId xmlns:a16="http://schemas.microsoft.com/office/drawing/2014/main" id="{84A98CBE-05CE-424F-A2AB-93280BB5CC1B}"/>
              </a:ext>
            </a:extLst>
          </p:cNvPr>
          <p:cNvSpPr/>
          <p:nvPr/>
        </p:nvSpPr>
        <p:spPr>
          <a:xfrm>
            <a:off x="9648586" y="2594033"/>
            <a:ext cx="331973" cy="252406"/>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30" name="Hexagon 129">
            <a:extLst>
              <a:ext uri="{FF2B5EF4-FFF2-40B4-BE49-F238E27FC236}">
                <a16:creationId xmlns:a16="http://schemas.microsoft.com/office/drawing/2014/main" id="{0F64B0DA-2E3C-A649-9EDE-D70D24FAB909}"/>
              </a:ext>
            </a:extLst>
          </p:cNvPr>
          <p:cNvSpPr/>
          <p:nvPr/>
        </p:nvSpPr>
        <p:spPr>
          <a:xfrm>
            <a:off x="860736" y="4442610"/>
            <a:ext cx="1739636" cy="1519114"/>
          </a:xfrm>
          <a:prstGeom prst="hexagon">
            <a:avLst>
              <a:gd name="adj" fmla="val 28908"/>
              <a:gd name="vf" fmla="val 11547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SE" sz="1600" b="1">
                <a:solidFill>
                  <a:schemeClr val="bg1"/>
                </a:solidFill>
              </a:rPr>
              <a:t>Recombinant gene technology</a:t>
            </a:r>
          </a:p>
        </p:txBody>
      </p:sp>
      <p:sp>
        <p:nvSpPr>
          <p:cNvPr id="135" name="Chevron 134">
            <a:extLst>
              <a:ext uri="{FF2B5EF4-FFF2-40B4-BE49-F238E27FC236}">
                <a16:creationId xmlns:a16="http://schemas.microsoft.com/office/drawing/2014/main" id="{C17445FE-0C63-B34C-821A-8CE56C845B57}"/>
              </a:ext>
            </a:extLst>
          </p:cNvPr>
          <p:cNvSpPr/>
          <p:nvPr/>
        </p:nvSpPr>
        <p:spPr>
          <a:xfrm>
            <a:off x="2406492" y="2869589"/>
            <a:ext cx="473289" cy="119100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36" name="Chevron 135">
            <a:extLst>
              <a:ext uri="{FF2B5EF4-FFF2-40B4-BE49-F238E27FC236}">
                <a16:creationId xmlns:a16="http://schemas.microsoft.com/office/drawing/2014/main" id="{4F93D72A-78B2-C348-8F6F-B93DE7479C02}"/>
              </a:ext>
            </a:extLst>
          </p:cNvPr>
          <p:cNvSpPr/>
          <p:nvPr/>
        </p:nvSpPr>
        <p:spPr>
          <a:xfrm>
            <a:off x="2812275" y="2965400"/>
            <a:ext cx="338282" cy="98987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137" name="Hexagon 136">
            <a:extLst>
              <a:ext uri="{FF2B5EF4-FFF2-40B4-BE49-F238E27FC236}">
                <a16:creationId xmlns:a16="http://schemas.microsoft.com/office/drawing/2014/main" id="{0949272B-A121-9640-83DD-2DF2C80CFC1A}"/>
              </a:ext>
            </a:extLst>
          </p:cNvPr>
          <p:cNvSpPr/>
          <p:nvPr/>
        </p:nvSpPr>
        <p:spPr>
          <a:xfrm>
            <a:off x="827119" y="2694889"/>
            <a:ext cx="1739636" cy="1519114"/>
          </a:xfrm>
          <a:prstGeom prst="hexagon">
            <a:avLst>
              <a:gd name="adj" fmla="val 28908"/>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SE" sz="1600" b="1">
                <a:solidFill>
                  <a:schemeClr val="tx1"/>
                </a:solidFill>
              </a:rPr>
              <a:t>Cells collected from donor or patient  </a:t>
            </a:r>
          </a:p>
        </p:txBody>
      </p:sp>
      <p:sp>
        <p:nvSpPr>
          <p:cNvPr id="139" name="Chevron 138">
            <a:extLst>
              <a:ext uri="{FF2B5EF4-FFF2-40B4-BE49-F238E27FC236}">
                <a16:creationId xmlns:a16="http://schemas.microsoft.com/office/drawing/2014/main" id="{158CC1F2-478D-2047-85E1-F9F8CE3B8AB7}"/>
              </a:ext>
            </a:extLst>
          </p:cNvPr>
          <p:cNvSpPr/>
          <p:nvPr/>
        </p:nvSpPr>
        <p:spPr>
          <a:xfrm>
            <a:off x="7255272" y="5714256"/>
            <a:ext cx="331973" cy="260789"/>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solidFill>
                <a:schemeClr val="tx1"/>
              </a:solidFill>
            </a:endParaRPr>
          </a:p>
        </p:txBody>
      </p:sp>
      <p:sp>
        <p:nvSpPr>
          <p:cNvPr id="80" name="Rectangle 79">
            <a:extLst>
              <a:ext uri="{FF2B5EF4-FFF2-40B4-BE49-F238E27FC236}">
                <a16:creationId xmlns:a16="http://schemas.microsoft.com/office/drawing/2014/main" id="{ACA2A191-63E0-B449-B8A1-E846BCE46D3C}"/>
              </a:ext>
            </a:extLst>
          </p:cNvPr>
          <p:cNvSpPr/>
          <p:nvPr/>
        </p:nvSpPr>
        <p:spPr>
          <a:xfrm>
            <a:off x="10146546" y="3303396"/>
            <a:ext cx="1171801" cy="66374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1" name="Rectangle 80">
            <a:extLst>
              <a:ext uri="{FF2B5EF4-FFF2-40B4-BE49-F238E27FC236}">
                <a16:creationId xmlns:a16="http://schemas.microsoft.com/office/drawing/2014/main" id="{7F78C053-7F05-2A4E-971C-E3EFA65EBE0B}"/>
              </a:ext>
            </a:extLst>
          </p:cNvPr>
          <p:cNvSpPr/>
          <p:nvPr/>
        </p:nvSpPr>
        <p:spPr>
          <a:xfrm>
            <a:off x="10194957" y="4183196"/>
            <a:ext cx="1073200" cy="58247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9" name="Rectangle 88">
            <a:extLst>
              <a:ext uri="{FF2B5EF4-FFF2-40B4-BE49-F238E27FC236}">
                <a16:creationId xmlns:a16="http://schemas.microsoft.com/office/drawing/2014/main" id="{9F6E1244-4F84-8742-950C-E0C2D786ABB0}"/>
              </a:ext>
            </a:extLst>
          </p:cNvPr>
          <p:cNvSpPr>
            <a:spLocks/>
          </p:cNvSpPr>
          <p:nvPr/>
        </p:nvSpPr>
        <p:spPr>
          <a:xfrm>
            <a:off x="10109654" y="4096365"/>
            <a:ext cx="1244146" cy="734201"/>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1" name="Rectangle 90">
            <a:extLst>
              <a:ext uri="{FF2B5EF4-FFF2-40B4-BE49-F238E27FC236}">
                <a16:creationId xmlns:a16="http://schemas.microsoft.com/office/drawing/2014/main" id="{596D649B-A031-B944-ADF6-F7A3A240912B}"/>
              </a:ext>
            </a:extLst>
          </p:cNvPr>
          <p:cNvSpPr/>
          <p:nvPr/>
        </p:nvSpPr>
        <p:spPr>
          <a:xfrm>
            <a:off x="10138747" y="2413962"/>
            <a:ext cx="1171801" cy="66374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93" name="Rectangle 92">
            <a:extLst>
              <a:ext uri="{FF2B5EF4-FFF2-40B4-BE49-F238E27FC236}">
                <a16:creationId xmlns:a16="http://schemas.microsoft.com/office/drawing/2014/main" id="{ACDBD408-5865-C745-B5B0-B6D071DE400D}"/>
              </a:ext>
            </a:extLst>
          </p:cNvPr>
          <p:cNvSpPr/>
          <p:nvPr/>
        </p:nvSpPr>
        <p:spPr>
          <a:xfrm>
            <a:off x="10166455" y="5434261"/>
            <a:ext cx="1171801" cy="66374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Tree>
    <p:extLst>
      <p:ext uri="{BB962C8B-B14F-4D97-AF65-F5344CB8AC3E}">
        <p14:creationId xmlns:p14="http://schemas.microsoft.com/office/powerpoint/2010/main" val="3889080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85DAE5-36CA-9242-96D4-A1B75241B9B3}"/>
              </a:ext>
            </a:extLst>
          </p:cNvPr>
          <p:cNvSpPr/>
          <p:nvPr/>
        </p:nvSpPr>
        <p:spPr>
          <a:xfrm>
            <a:off x="837548" y="4028837"/>
            <a:ext cx="10514436" cy="304501"/>
          </a:xfrm>
          <a:prstGeom prst="rect">
            <a:avLst/>
          </a:prstGeom>
          <a:solidFill>
            <a:schemeClr val="accent3">
              <a:lumMod val="40000"/>
              <a:lumOff val="6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3" name="Rectangle 22">
            <a:extLst>
              <a:ext uri="{FF2B5EF4-FFF2-40B4-BE49-F238E27FC236}">
                <a16:creationId xmlns:a16="http://schemas.microsoft.com/office/drawing/2014/main" id="{766B4BCF-D88D-274D-A27D-D96A49B4B58A}"/>
              </a:ext>
            </a:extLst>
          </p:cNvPr>
          <p:cNvSpPr/>
          <p:nvPr/>
        </p:nvSpPr>
        <p:spPr>
          <a:xfrm>
            <a:off x="837548" y="3564033"/>
            <a:ext cx="10514436" cy="304501"/>
          </a:xfrm>
          <a:prstGeom prst="rect">
            <a:avLst/>
          </a:prstGeom>
          <a:solidFill>
            <a:schemeClr val="accent3">
              <a:lumMod val="40000"/>
              <a:lumOff val="6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1" name="Rectangle 20">
            <a:extLst>
              <a:ext uri="{FF2B5EF4-FFF2-40B4-BE49-F238E27FC236}">
                <a16:creationId xmlns:a16="http://schemas.microsoft.com/office/drawing/2014/main" id="{172CEFD2-F6A7-9140-95B3-BBFB0001EE47}"/>
              </a:ext>
            </a:extLst>
          </p:cNvPr>
          <p:cNvSpPr/>
          <p:nvPr/>
        </p:nvSpPr>
        <p:spPr>
          <a:xfrm>
            <a:off x="837548" y="2634425"/>
            <a:ext cx="10514436" cy="304501"/>
          </a:xfrm>
          <a:prstGeom prst="rect">
            <a:avLst/>
          </a:prstGeom>
          <a:solidFill>
            <a:schemeClr val="accent3">
              <a:lumMod val="40000"/>
              <a:lumOff val="6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0" name="Rectangle 19">
            <a:extLst>
              <a:ext uri="{FF2B5EF4-FFF2-40B4-BE49-F238E27FC236}">
                <a16:creationId xmlns:a16="http://schemas.microsoft.com/office/drawing/2014/main" id="{E87AFB51-2AD0-AA43-A13B-F90B17ECA3E8}"/>
              </a:ext>
            </a:extLst>
          </p:cNvPr>
          <p:cNvSpPr/>
          <p:nvPr/>
        </p:nvSpPr>
        <p:spPr>
          <a:xfrm>
            <a:off x="837548" y="2169621"/>
            <a:ext cx="10514436" cy="304501"/>
          </a:xfrm>
          <a:prstGeom prst="rect">
            <a:avLst/>
          </a:prstGeom>
          <a:solidFill>
            <a:schemeClr val="accent3">
              <a:lumMod val="40000"/>
              <a:lumOff val="6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5" name="Rectangle 24">
            <a:extLst>
              <a:ext uri="{FF2B5EF4-FFF2-40B4-BE49-F238E27FC236}">
                <a16:creationId xmlns:a16="http://schemas.microsoft.com/office/drawing/2014/main" id="{28DD0575-8E3A-9945-B5CA-9ECAF4F6D49B}"/>
              </a:ext>
            </a:extLst>
          </p:cNvPr>
          <p:cNvSpPr/>
          <p:nvPr/>
        </p:nvSpPr>
        <p:spPr>
          <a:xfrm>
            <a:off x="837548" y="4493641"/>
            <a:ext cx="10514436" cy="304501"/>
          </a:xfrm>
          <a:prstGeom prst="rect">
            <a:avLst/>
          </a:prstGeom>
          <a:solidFill>
            <a:schemeClr val="accent3">
              <a:lumMod val="40000"/>
              <a:lumOff val="6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6" name="Rectangle 25">
            <a:extLst>
              <a:ext uri="{FF2B5EF4-FFF2-40B4-BE49-F238E27FC236}">
                <a16:creationId xmlns:a16="http://schemas.microsoft.com/office/drawing/2014/main" id="{3C1E33B6-B152-324A-8C77-66F7E29CCCE5}"/>
              </a:ext>
            </a:extLst>
          </p:cNvPr>
          <p:cNvSpPr/>
          <p:nvPr/>
        </p:nvSpPr>
        <p:spPr>
          <a:xfrm>
            <a:off x="837554" y="4958445"/>
            <a:ext cx="10514006" cy="304501"/>
          </a:xfrm>
          <a:prstGeom prst="rect">
            <a:avLst/>
          </a:prstGeom>
          <a:solidFill>
            <a:schemeClr val="accent3">
              <a:lumMod val="40000"/>
              <a:lumOff val="6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7" name="Rectangle 26">
            <a:extLst>
              <a:ext uri="{FF2B5EF4-FFF2-40B4-BE49-F238E27FC236}">
                <a16:creationId xmlns:a16="http://schemas.microsoft.com/office/drawing/2014/main" id="{9B9B24F2-7079-9342-823E-941B3902A17D}"/>
              </a:ext>
            </a:extLst>
          </p:cNvPr>
          <p:cNvSpPr/>
          <p:nvPr/>
        </p:nvSpPr>
        <p:spPr>
          <a:xfrm>
            <a:off x="837554" y="5423249"/>
            <a:ext cx="10514006" cy="304501"/>
          </a:xfrm>
          <a:prstGeom prst="rect">
            <a:avLst/>
          </a:prstGeom>
          <a:solidFill>
            <a:schemeClr val="accent3">
              <a:lumMod val="40000"/>
              <a:lumOff val="6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8" name="Rectangle 27">
            <a:extLst>
              <a:ext uri="{FF2B5EF4-FFF2-40B4-BE49-F238E27FC236}">
                <a16:creationId xmlns:a16="http://schemas.microsoft.com/office/drawing/2014/main" id="{CC3A2EC9-8A6F-AA4D-B749-83FB597B66FE}"/>
              </a:ext>
            </a:extLst>
          </p:cNvPr>
          <p:cNvSpPr/>
          <p:nvPr/>
        </p:nvSpPr>
        <p:spPr>
          <a:xfrm>
            <a:off x="837554" y="5888050"/>
            <a:ext cx="10514006" cy="304501"/>
          </a:xfrm>
          <a:prstGeom prst="rect">
            <a:avLst/>
          </a:prstGeom>
          <a:solidFill>
            <a:schemeClr val="accent3">
              <a:lumMod val="40000"/>
              <a:lumOff val="6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itle 1">
            <a:extLst>
              <a:ext uri="{FF2B5EF4-FFF2-40B4-BE49-F238E27FC236}">
                <a16:creationId xmlns:a16="http://schemas.microsoft.com/office/drawing/2014/main" id="{93C9A387-713D-5349-AB12-070760743D62}"/>
              </a:ext>
            </a:extLst>
          </p:cNvPr>
          <p:cNvSpPr>
            <a:spLocks noGrp="1"/>
          </p:cNvSpPr>
          <p:nvPr>
            <p:ph type="title"/>
          </p:nvPr>
        </p:nvSpPr>
        <p:spPr/>
        <p:txBody>
          <a:bodyPr>
            <a:normAutofit/>
          </a:bodyPr>
          <a:lstStyle/>
          <a:p>
            <a:r>
              <a:rPr lang="en-SE" sz="4000"/>
              <a:t>ATMPs from an EU regulatory perspective</a:t>
            </a:r>
          </a:p>
        </p:txBody>
      </p:sp>
      <p:sp>
        <p:nvSpPr>
          <p:cNvPr id="7" name="TextBox 6">
            <a:extLst>
              <a:ext uri="{FF2B5EF4-FFF2-40B4-BE49-F238E27FC236}">
                <a16:creationId xmlns:a16="http://schemas.microsoft.com/office/drawing/2014/main" id="{3E151FBA-F960-CC46-BD57-6939114843D4}"/>
              </a:ext>
            </a:extLst>
          </p:cNvPr>
          <p:cNvSpPr txBox="1"/>
          <p:nvPr/>
        </p:nvSpPr>
        <p:spPr>
          <a:xfrm>
            <a:off x="929776" y="4498020"/>
            <a:ext cx="2051222" cy="276999"/>
          </a:xfrm>
          <a:prstGeom prst="rect">
            <a:avLst/>
          </a:prstGeom>
          <a:noFill/>
        </p:spPr>
        <p:txBody>
          <a:bodyPr wrap="square" rtlCol="0">
            <a:spAutoFit/>
          </a:bodyPr>
          <a:lstStyle/>
          <a:p>
            <a:r>
              <a:rPr lang="en-SE" sz="1200" b="1"/>
              <a:t>Somatic Cell Therapy</a:t>
            </a:r>
          </a:p>
        </p:txBody>
      </p:sp>
      <p:sp>
        <p:nvSpPr>
          <p:cNvPr id="5" name="Rectangle 4">
            <a:extLst>
              <a:ext uri="{FF2B5EF4-FFF2-40B4-BE49-F238E27FC236}">
                <a16:creationId xmlns:a16="http://schemas.microsoft.com/office/drawing/2014/main" id="{33DA2841-3C2E-DF42-8883-5B9F1653B634}"/>
              </a:ext>
            </a:extLst>
          </p:cNvPr>
          <p:cNvSpPr/>
          <p:nvPr/>
        </p:nvSpPr>
        <p:spPr>
          <a:xfrm>
            <a:off x="837547" y="1784334"/>
            <a:ext cx="10514013" cy="3951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8" name="TextBox 7">
            <a:extLst>
              <a:ext uri="{FF2B5EF4-FFF2-40B4-BE49-F238E27FC236}">
                <a16:creationId xmlns:a16="http://schemas.microsoft.com/office/drawing/2014/main" id="{2680690D-0EE0-4849-B7B5-2DE6C287AF54}"/>
              </a:ext>
            </a:extLst>
          </p:cNvPr>
          <p:cNvSpPr txBox="1"/>
          <p:nvPr/>
        </p:nvSpPr>
        <p:spPr>
          <a:xfrm>
            <a:off x="929776" y="4991485"/>
            <a:ext cx="2286000" cy="276999"/>
          </a:xfrm>
          <a:prstGeom prst="rect">
            <a:avLst/>
          </a:prstGeom>
          <a:noFill/>
        </p:spPr>
        <p:txBody>
          <a:bodyPr wrap="square" rtlCol="0">
            <a:spAutoFit/>
          </a:bodyPr>
          <a:lstStyle/>
          <a:p>
            <a:r>
              <a:rPr lang="en-SE" sz="1200" b="1"/>
              <a:t>Tissue Engineered Products</a:t>
            </a:r>
          </a:p>
        </p:txBody>
      </p:sp>
      <p:sp>
        <p:nvSpPr>
          <p:cNvPr id="9" name="TextBox 8">
            <a:extLst>
              <a:ext uri="{FF2B5EF4-FFF2-40B4-BE49-F238E27FC236}">
                <a16:creationId xmlns:a16="http://schemas.microsoft.com/office/drawing/2014/main" id="{DB43C97C-A729-8A41-950F-85102287641A}"/>
              </a:ext>
            </a:extLst>
          </p:cNvPr>
          <p:cNvSpPr txBox="1"/>
          <p:nvPr/>
        </p:nvSpPr>
        <p:spPr>
          <a:xfrm>
            <a:off x="929776" y="5451084"/>
            <a:ext cx="2286000" cy="276999"/>
          </a:xfrm>
          <a:prstGeom prst="rect">
            <a:avLst/>
          </a:prstGeom>
          <a:noFill/>
        </p:spPr>
        <p:txBody>
          <a:bodyPr wrap="square" rtlCol="0">
            <a:spAutoFit/>
          </a:bodyPr>
          <a:lstStyle/>
          <a:p>
            <a:r>
              <a:rPr lang="en-SE" sz="1200" b="1"/>
              <a:t>Combined ATMP</a:t>
            </a:r>
          </a:p>
        </p:txBody>
      </p:sp>
      <p:sp>
        <p:nvSpPr>
          <p:cNvPr id="10" name="TextBox 9">
            <a:extLst>
              <a:ext uri="{FF2B5EF4-FFF2-40B4-BE49-F238E27FC236}">
                <a16:creationId xmlns:a16="http://schemas.microsoft.com/office/drawing/2014/main" id="{8451319F-5846-504C-8312-7D83E62919D9}"/>
              </a:ext>
            </a:extLst>
          </p:cNvPr>
          <p:cNvSpPr txBox="1"/>
          <p:nvPr/>
        </p:nvSpPr>
        <p:spPr>
          <a:xfrm>
            <a:off x="928187" y="2171519"/>
            <a:ext cx="2286000" cy="276999"/>
          </a:xfrm>
          <a:prstGeom prst="rect">
            <a:avLst/>
          </a:prstGeom>
          <a:noFill/>
        </p:spPr>
        <p:txBody>
          <a:bodyPr wrap="square" rtlCol="0">
            <a:spAutoFit/>
          </a:bodyPr>
          <a:lstStyle/>
          <a:p>
            <a:r>
              <a:rPr lang="en-SE" sz="1200" b="1"/>
              <a:t>Small Molecules</a:t>
            </a:r>
          </a:p>
        </p:txBody>
      </p:sp>
      <p:sp>
        <p:nvSpPr>
          <p:cNvPr id="11" name="TextBox 10">
            <a:extLst>
              <a:ext uri="{FF2B5EF4-FFF2-40B4-BE49-F238E27FC236}">
                <a16:creationId xmlns:a16="http://schemas.microsoft.com/office/drawing/2014/main" id="{60C1D415-CA33-5D4E-9D98-C616B66682FB}"/>
              </a:ext>
            </a:extLst>
          </p:cNvPr>
          <p:cNvSpPr txBox="1"/>
          <p:nvPr/>
        </p:nvSpPr>
        <p:spPr>
          <a:xfrm>
            <a:off x="928187" y="2652383"/>
            <a:ext cx="2286000" cy="276999"/>
          </a:xfrm>
          <a:prstGeom prst="rect">
            <a:avLst/>
          </a:prstGeom>
          <a:noFill/>
        </p:spPr>
        <p:txBody>
          <a:bodyPr wrap="square" rtlCol="0">
            <a:spAutoFit/>
          </a:bodyPr>
          <a:lstStyle/>
          <a:p>
            <a:r>
              <a:rPr lang="en-SE" sz="1200" b="1"/>
              <a:t>Non-living Biologics</a:t>
            </a:r>
          </a:p>
        </p:txBody>
      </p:sp>
      <p:sp>
        <p:nvSpPr>
          <p:cNvPr id="12" name="TextBox 11">
            <a:extLst>
              <a:ext uri="{FF2B5EF4-FFF2-40B4-BE49-F238E27FC236}">
                <a16:creationId xmlns:a16="http://schemas.microsoft.com/office/drawing/2014/main" id="{CA86CE77-89A6-CF41-8B4F-B75F3F020277}"/>
              </a:ext>
            </a:extLst>
          </p:cNvPr>
          <p:cNvSpPr txBox="1"/>
          <p:nvPr/>
        </p:nvSpPr>
        <p:spPr>
          <a:xfrm>
            <a:off x="928187" y="3571580"/>
            <a:ext cx="2286000" cy="276999"/>
          </a:xfrm>
          <a:prstGeom prst="rect">
            <a:avLst/>
          </a:prstGeom>
          <a:noFill/>
        </p:spPr>
        <p:txBody>
          <a:bodyPr wrap="square" rtlCol="0">
            <a:spAutoFit/>
          </a:bodyPr>
          <a:lstStyle/>
          <a:p>
            <a:r>
              <a:rPr lang="en-SE" sz="1200" b="1"/>
              <a:t>Vaccines</a:t>
            </a:r>
          </a:p>
        </p:txBody>
      </p:sp>
      <p:sp>
        <p:nvSpPr>
          <p:cNvPr id="14" name="TextBox 13">
            <a:extLst>
              <a:ext uri="{FF2B5EF4-FFF2-40B4-BE49-F238E27FC236}">
                <a16:creationId xmlns:a16="http://schemas.microsoft.com/office/drawing/2014/main" id="{6C7B76A1-6B07-784F-9E76-572AD4176650}"/>
              </a:ext>
            </a:extLst>
          </p:cNvPr>
          <p:cNvSpPr txBox="1"/>
          <p:nvPr/>
        </p:nvSpPr>
        <p:spPr>
          <a:xfrm>
            <a:off x="928187" y="5910683"/>
            <a:ext cx="2286000" cy="276999"/>
          </a:xfrm>
          <a:prstGeom prst="rect">
            <a:avLst/>
          </a:prstGeom>
          <a:noFill/>
        </p:spPr>
        <p:txBody>
          <a:bodyPr wrap="square" rtlCol="0">
            <a:spAutoFit/>
          </a:bodyPr>
          <a:lstStyle/>
          <a:p>
            <a:r>
              <a:rPr lang="en-SE" sz="1200" b="1"/>
              <a:t>Medical Device Only</a:t>
            </a:r>
          </a:p>
        </p:txBody>
      </p:sp>
      <p:sp>
        <p:nvSpPr>
          <p:cNvPr id="15" name="TextBox 14">
            <a:extLst>
              <a:ext uri="{FF2B5EF4-FFF2-40B4-BE49-F238E27FC236}">
                <a16:creationId xmlns:a16="http://schemas.microsoft.com/office/drawing/2014/main" id="{45AB42D6-1212-9D42-A7BE-654BFA4B122B}"/>
              </a:ext>
            </a:extLst>
          </p:cNvPr>
          <p:cNvSpPr txBox="1"/>
          <p:nvPr/>
        </p:nvSpPr>
        <p:spPr>
          <a:xfrm>
            <a:off x="928187" y="4038421"/>
            <a:ext cx="2051222" cy="276999"/>
          </a:xfrm>
          <a:prstGeom prst="rect">
            <a:avLst/>
          </a:prstGeom>
          <a:noFill/>
        </p:spPr>
        <p:txBody>
          <a:bodyPr wrap="square" rtlCol="0">
            <a:spAutoFit/>
          </a:bodyPr>
          <a:lstStyle/>
          <a:p>
            <a:r>
              <a:rPr lang="en-SE" sz="1200" b="1"/>
              <a:t>Gene Therapy</a:t>
            </a:r>
          </a:p>
        </p:txBody>
      </p:sp>
      <p:sp>
        <p:nvSpPr>
          <p:cNvPr id="16" name="TextBox 15">
            <a:extLst>
              <a:ext uri="{FF2B5EF4-FFF2-40B4-BE49-F238E27FC236}">
                <a16:creationId xmlns:a16="http://schemas.microsoft.com/office/drawing/2014/main" id="{506743C5-B528-E545-B065-67D227B0BA6B}"/>
              </a:ext>
            </a:extLst>
          </p:cNvPr>
          <p:cNvSpPr txBox="1"/>
          <p:nvPr/>
        </p:nvSpPr>
        <p:spPr>
          <a:xfrm>
            <a:off x="1072565" y="1814424"/>
            <a:ext cx="1738654" cy="338554"/>
          </a:xfrm>
          <a:prstGeom prst="rect">
            <a:avLst/>
          </a:prstGeom>
          <a:noFill/>
          <a:ln>
            <a:solidFill>
              <a:schemeClr val="bg1"/>
            </a:solidFill>
            <a:prstDash val="sysDash"/>
          </a:ln>
        </p:spPr>
        <p:txBody>
          <a:bodyPr wrap="square" rtlCol="0">
            <a:spAutoFit/>
          </a:bodyPr>
          <a:lstStyle/>
          <a:p>
            <a:pPr algn="ctr"/>
            <a:r>
              <a:rPr lang="en-SE" sz="1600" b="1">
                <a:solidFill>
                  <a:schemeClr val="bg1"/>
                </a:solidFill>
              </a:rPr>
              <a:t>Therapy Type</a:t>
            </a:r>
          </a:p>
        </p:txBody>
      </p:sp>
      <p:sp>
        <p:nvSpPr>
          <p:cNvPr id="29" name="TextBox 28">
            <a:extLst>
              <a:ext uri="{FF2B5EF4-FFF2-40B4-BE49-F238E27FC236}">
                <a16:creationId xmlns:a16="http://schemas.microsoft.com/office/drawing/2014/main" id="{C551B276-5B9D-E14D-90AB-63AD45523BA2}"/>
              </a:ext>
            </a:extLst>
          </p:cNvPr>
          <p:cNvSpPr txBox="1"/>
          <p:nvPr/>
        </p:nvSpPr>
        <p:spPr>
          <a:xfrm>
            <a:off x="7986327" y="1811057"/>
            <a:ext cx="3106420" cy="338554"/>
          </a:xfrm>
          <a:prstGeom prst="rect">
            <a:avLst/>
          </a:prstGeom>
          <a:noFill/>
          <a:ln>
            <a:solidFill>
              <a:schemeClr val="bg1"/>
            </a:solidFill>
            <a:prstDash val="sysDash"/>
          </a:ln>
        </p:spPr>
        <p:txBody>
          <a:bodyPr wrap="square" rtlCol="0">
            <a:spAutoFit/>
          </a:bodyPr>
          <a:lstStyle/>
          <a:p>
            <a:pPr algn="ctr"/>
            <a:r>
              <a:rPr lang="en-SE" sz="1600" b="1">
                <a:solidFill>
                  <a:schemeClr val="bg1"/>
                </a:solidFill>
              </a:rPr>
              <a:t>Regulations that apply</a:t>
            </a:r>
          </a:p>
        </p:txBody>
      </p:sp>
      <p:sp>
        <p:nvSpPr>
          <p:cNvPr id="36" name="Rectangle 35">
            <a:extLst>
              <a:ext uri="{FF2B5EF4-FFF2-40B4-BE49-F238E27FC236}">
                <a16:creationId xmlns:a16="http://schemas.microsoft.com/office/drawing/2014/main" id="{10D660A0-D4C4-6549-BF05-2614493EDB38}"/>
              </a:ext>
            </a:extLst>
          </p:cNvPr>
          <p:cNvSpPr/>
          <p:nvPr/>
        </p:nvSpPr>
        <p:spPr>
          <a:xfrm rot="16200000">
            <a:off x="3449884" y="1715328"/>
            <a:ext cx="297416" cy="1226938"/>
          </a:xfrm>
          <a:prstGeom prst="rect">
            <a:avLst/>
          </a:prstGeom>
          <a:solidFill>
            <a:schemeClr val="accent3">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sv-SE" sz="1000">
                <a:solidFill>
                  <a:schemeClr val="tx1"/>
                </a:solidFill>
              </a:rPr>
              <a:t>Aspirin, </a:t>
            </a:r>
            <a:r>
              <a:rPr lang="sv-SE" sz="1000" err="1">
                <a:solidFill>
                  <a:schemeClr val="tx1"/>
                </a:solidFill>
              </a:rPr>
              <a:t>Spinraza</a:t>
            </a:r>
            <a:endParaRPr lang="sv-SE" sz="1000">
              <a:solidFill>
                <a:schemeClr val="tx1"/>
              </a:solidFill>
            </a:endParaRPr>
          </a:p>
        </p:txBody>
      </p:sp>
      <p:sp>
        <p:nvSpPr>
          <p:cNvPr id="37" name="TextBox 36">
            <a:extLst>
              <a:ext uri="{FF2B5EF4-FFF2-40B4-BE49-F238E27FC236}">
                <a16:creationId xmlns:a16="http://schemas.microsoft.com/office/drawing/2014/main" id="{4C91C960-395A-314B-874F-B6A440DDADFF}"/>
              </a:ext>
            </a:extLst>
          </p:cNvPr>
          <p:cNvSpPr txBox="1"/>
          <p:nvPr/>
        </p:nvSpPr>
        <p:spPr>
          <a:xfrm>
            <a:off x="2993864" y="1820539"/>
            <a:ext cx="2297858" cy="338554"/>
          </a:xfrm>
          <a:prstGeom prst="rect">
            <a:avLst/>
          </a:prstGeom>
          <a:noFill/>
          <a:ln>
            <a:solidFill>
              <a:schemeClr val="bg1"/>
            </a:solidFill>
            <a:prstDash val="sysDash"/>
          </a:ln>
        </p:spPr>
        <p:txBody>
          <a:bodyPr wrap="square" rtlCol="0">
            <a:spAutoFit/>
          </a:bodyPr>
          <a:lstStyle/>
          <a:p>
            <a:pPr algn="ctr"/>
            <a:r>
              <a:rPr lang="en-SE" sz="1600" b="1">
                <a:solidFill>
                  <a:schemeClr val="bg1"/>
                </a:solidFill>
              </a:rPr>
              <a:t>Examples</a:t>
            </a:r>
          </a:p>
        </p:txBody>
      </p:sp>
      <p:sp>
        <p:nvSpPr>
          <p:cNvPr id="38" name="Rectangle 37">
            <a:extLst>
              <a:ext uri="{FF2B5EF4-FFF2-40B4-BE49-F238E27FC236}">
                <a16:creationId xmlns:a16="http://schemas.microsoft.com/office/drawing/2014/main" id="{13F83F06-E831-2A43-A3ED-691A4F9E477B}"/>
              </a:ext>
            </a:extLst>
          </p:cNvPr>
          <p:cNvSpPr/>
          <p:nvPr/>
        </p:nvSpPr>
        <p:spPr>
          <a:xfrm rot="16200000">
            <a:off x="3457114" y="2163521"/>
            <a:ext cx="297416" cy="1233153"/>
          </a:xfrm>
          <a:prstGeom prst="rect">
            <a:avLst/>
          </a:prstGeom>
          <a:solidFill>
            <a:schemeClr val="accent3">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sv-SE" sz="1000" dirty="0">
                <a:solidFill>
                  <a:schemeClr val="tx1"/>
                </a:solidFill>
              </a:rPr>
              <a:t>Protein</a:t>
            </a:r>
          </a:p>
        </p:txBody>
      </p:sp>
      <p:sp>
        <p:nvSpPr>
          <p:cNvPr id="40" name="Rectangle 39">
            <a:extLst>
              <a:ext uri="{FF2B5EF4-FFF2-40B4-BE49-F238E27FC236}">
                <a16:creationId xmlns:a16="http://schemas.microsoft.com/office/drawing/2014/main" id="{76B035D5-D413-8F41-B899-35D0CF7354EF}"/>
              </a:ext>
            </a:extLst>
          </p:cNvPr>
          <p:cNvSpPr/>
          <p:nvPr/>
        </p:nvSpPr>
        <p:spPr>
          <a:xfrm rot="16200000">
            <a:off x="4027541" y="2507505"/>
            <a:ext cx="297416" cy="2403269"/>
          </a:xfrm>
          <a:prstGeom prst="rect">
            <a:avLst/>
          </a:prstGeom>
          <a:solidFill>
            <a:schemeClr val="accent3">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sv-SE" sz="1000">
                <a:solidFill>
                  <a:schemeClr val="tx1"/>
                </a:solidFill>
              </a:rPr>
              <a:t>DNA </a:t>
            </a:r>
            <a:r>
              <a:rPr lang="sv-SE" sz="1000" err="1">
                <a:solidFill>
                  <a:schemeClr val="tx1"/>
                </a:solidFill>
              </a:rPr>
              <a:t>vaccine</a:t>
            </a:r>
            <a:r>
              <a:rPr lang="sv-SE" sz="1000">
                <a:solidFill>
                  <a:schemeClr val="tx1"/>
                </a:solidFill>
              </a:rPr>
              <a:t> </a:t>
            </a:r>
            <a:r>
              <a:rPr lang="sv-SE" sz="1000" err="1">
                <a:solidFill>
                  <a:schemeClr val="tx1"/>
                </a:solidFill>
              </a:rPr>
              <a:t>against</a:t>
            </a:r>
            <a:r>
              <a:rPr lang="sv-SE" sz="1000">
                <a:solidFill>
                  <a:schemeClr val="tx1"/>
                </a:solidFill>
              </a:rPr>
              <a:t> </a:t>
            </a:r>
            <a:r>
              <a:rPr lang="sv-SE" sz="1000" err="1">
                <a:solidFill>
                  <a:schemeClr val="tx1"/>
                </a:solidFill>
              </a:rPr>
              <a:t>infectious</a:t>
            </a:r>
            <a:r>
              <a:rPr lang="sv-SE" sz="1000">
                <a:solidFill>
                  <a:schemeClr val="tx1"/>
                </a:solidFill>
              </a:rPr>
              <a:t> </a:t>
            </a:r>
            <a:r>
              <a:rPr lang="sv-SE" sz="1000" err="1">
                <a:solidFill>
                  <a:schemeClr val="tx1"/>
                </a:solidFill>
              </a:rPr>
              <a:t>disease</a:t>
            </a:r>
            <a:r>
              <a:rPr lang="sv-SE" sz="1000">
                <a:solidFill>
                  <a:schemeClr val="tx1"/>
                </a:solidFill>
              </a:rPr>
              <a:t>  </a:t>
            </a:r>
          </a:p>
        </p:txBody>
      </p:sp>
      <p:sp>
        <p:nvSpPr>
          <p:cNvPr id="42" name="Up-down Arrow 41">
            <a:extLst>
              <a:ext uri="{FF2B5EF4-FFF2-40B4-BE49-F238E27FC236}">
                <a16:creationId xmlns:a16="http://schemas.microsoft.com/office/drawing/2014/main" id="{205A7518-2D59-8440-AA40-CB74D3471FD3}"/>
              </a:ext>
            </a:extLst>
          </p:cNvPr>
          <p:cNvSpPr/>
          <p:nvPr/>
        </p:nvSpPr>
        <p:spPr>
          <a:xfrm>
            <a:off x="6304256" y="4021416"/>
            <a:ext cx="676944" cy="1699250"/>
          </a:xfrm>
          <a:prstGeom prst="upDownArrow">
            <a:avLst>
              <a:gd name="adj1" fmla="val 100000"/>
              <a:gd name="adj2" fmla="val 2810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SE" sz="900"/>
              <a:t>ATMP</a:t>
            </a:r>
          </a:p>
        </p:txBody>
      </p:sp>
      <p:sp>
        <p:nvSpPr>
          <p:cNvPr id="43" name="Up-down Arrow 42">
            <a:extLst>
              <a:ext uri="{FF2B5EF4-FFF2-40B4-BE49-F238E27FC236}">
                <a16:creationId xmlns:a16="http://schemas.microsoft.com/office/drawing/2014/main" id="{BD92FC70-C0FC-7E40-BEE6-A8476DCD3002}"/>
              </a:ext>
            </a:extLst>
          </p:cNvPr>
          <p:cNvSpPr/>
          <p:nvPr/>
        </p:nvSpPr>
        <p:spPr>
          <a:xfrm>
            <a:off x="7060398" y="5423249"/>
            <a:ext cx="676800" cy="764506"/>
          </a:xfrm>
          <a:prstGeom prst="upDownArrow">
            <a:avLst>
              <a:gd name="adj1" fmla="val 100000"/>
              <a:gd name="adj2" fmla="val 3035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GB" sz="900"/>
              <a:t>M</a:t>
            </a:r>
            <a:r>
              <a:rPr lang="en-SE" sz="900"/>
              <a:t>edical device</a:t>
            </a:r>
          </a:p>
        </p:txBody>
      </p:sp>
      <p:sp>
        <p:nvSpPr>
          <p:cNvPr id="45" name="Up-down Arrow 44">
            <a:extLst>
              <a:ext uri="{FF2B5EF4-FFF2-40B4-BE49-F238E27FC236}">
                <a16:creationId xmlns:a16="http://schemas.microsoft.com/office/drawing/2014/main" id="{8C0C3FED-26E5-6B41-A8D1-693F94901A22}"/>
              </a:ext>
            </a:extLst>
          </p:cNvPr>
          <p:cNvSpPr/>
          <p:nvPr/>
        </p:nvSpPr>
        <p:spPr>
          <a:xfrm>
            <a:off x="8925098" y="4021416"/>
            <a:ext cx="676800" cy="1706667"/>
          </a:xfrm>
          <a:prstGeom prst="upDownArrow">
            <a:avLst>
              <a:gd name="adj1" fmla="val 100000"/>
              <a:gd name="adj2" fmla="val 2810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tIns="0" rIns="36000" bIns="0" rtlCol="0" anchor="ctr"/>
          <a:lstStyle/>
          <a:p>
            <a:pPr algn="ctr"/>
            <a:r>
              <a:rPr lang="en-SE" sz="900"/>
              <a:t>ATMP</a:t>
            </a:r>
          </a:p>
          <a:p>
            <a:pPr algn="ctr"/>
            <a:r>
              <a:rPr lang="en-SE" sz="900"/>
              <a:t>(1394/2007)</a:t>
            </a:r>
          </a:p>
        </p:txBody>
      </p:sp>
      <p:sp>
        <p:nvSpPr>
          <p:cNvPr id="44" name="Up-down Arrow 43">
            <a:extLst>
              <a:ext uri="{FF2B5EF4-FFF2-40B4-BE49-F238E27FC236}">
                <a16:creationId xmlns:a16="http://schemas.microsoft.com/office/drawing/2014/main" id="{DF2671B8-985F-2E43-962E-A854BCA2EEB4}"/>
              </a:ext>
            </a:extLst>
          </p:cNvPr>
          <p:cNvSpPr/>
          <p:nvPr/>
        </p:nvSpPr>
        <p:spPr>
          <a:xfrm>
            <a:off x="8153263" y="2180088"/>
            <a:ext cx="682694" cy="3540577"/>
          </a:xfrm>
          <a:prstGeom prst="upDownArrow">
            <a:avLst>
              <a:gd name="adj1" fmla="val 100000"/>
              <a:gd name="adj2" fmla="val 2810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SE" sz="900"/>
              <a:t>Medicinal Products</a:t>
            </a:r>
          </a:p>
          <a:p>
            <a:pPr algn="ctr"/>
            <a:r>
              <a:rPr lang="sv-SE" sz="900">
                <a:solidFill>
                  <a:schemeClr val="bg1"/>
                </a:solidFill>
              </a:rPr>
              <a:t>(2001/83/EC)</a:t>
            </a:r>
            <a:endParaRPr lang="en-SE" sz="900"/>
          </a:p>
        </p:txBody>
      </p:sp>
      <p:sp>
        <p:nvSpPr>
          <p:cNvPr id="46" name="Up-down Arrow 45">
            <a:extLst>
              <a:ext uri="{FF2B5EF4-FFF2-40B4-BE49-F238E27FC236}">
                <a16:creationId xmlns:a16="http://schemas.microsoft.com/office/drawing/2014/main" id="{FD198A26-1258-7247-A2A8-4261F70F54AC}"/>
              </a:ext>
            </a:extLst>
          </p:cNvPr>
          <p:cNvSpPr/>
          <p:nvPr/>
        </p:nvSpPr>
        <p:spPr>
          <a:xfrm>
            <a:off x="9616043" y="5423249"/>
            <a:ext cx="676800" cy="762218"/>
          </a:xfrm>
          <a:prstGeom prst="upDownArrow">
            <a:avLst>
              <a:gd name="adj1" fmla="val 100000"/>
              <a:gd name="adj2" fmla="val 2473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tIns="0" rIns="36000" bIns="0" rtlCol="0" anchor="ctr"/>
          <a:lstStyle/>
          <a:p>
            <a:pPr algn="ctr"/>
            <a:r>
              <a:rPr lang="en-GB" sz="900"/>
              <a:t>M</a:t>
            </a:r>
            <a:r>
              <a:rPr lang="en-SE" sz="900"/>
              <a:t>edical device (93/42/EEC)</a:t>
            </a:r>
          </a:p>
        </p:txBody>
      </p:sp>
      <p:sp>
        <p:nvSpPr>
          <p:cNvPr id="48" name="TextBox 47">
            <a:extLst>
              <a:ext uri="{FF2B5EF4-FFF2-40B4-BE49-F238E27FC236}">
                <a16:creationId xmlns:a16="http://schemas.microsoft.com/office/drawing/2014/main" id="{AC52AB05-03F7-5F4E-9614-83CCBB15B634}"/>
              </a:ext>
            </a:extLst>
          </p:cNvPr>
          <p:cNvSpPr txBox="1"/>
          <p:nvPr/>
        </p:nvSpPr>
        <p:spPr>
          <a:xfrm>
            <a:off x="5445234" y="1820539"/>
            <a:ext cx="2297858" cy="338554"/>
          </a:xfrm>
          <a:prstGeom prst="rect">
            <a:avLst/>
          </a:prstGeom>
          <a:noFill/>
          <a:ln>
            <a:solidFill>
              <a:schemeClr val="bg1"/>
            </a:solidFill>
            <a:prstDash val="sysDash"/>
          </a:ln>
        </p:spPr>
        <p:txBody>
          <a:bodyPr wrap="square" rtlCol="0">
            <a:spAutoFit/>
          </a:bodyPr>
          <a:lstStyle/>
          <a:p>
            <a:pPr algn="ctr"/>
            <a:r>
              <a:rPr lang="en-SE" sz="1600" b="1">
                <a:solidFill>
                  <a:schemeClr val="bg1"/>
                </a:solidFill>
              </a:rPr>
              <a:t>Type of product</a:t>
            </a:r>
          </a:p>
        </p:txBody>
      </p:sp>
      <p:sp>
        <p:nvSpPr>
          <p:cNvPr id="50" name="Rectangle 49">
            <a:extLst>
              <a:ext uri="{FF2B5EF4-FFF2-40B4-BE49-F238E27FC236}">
                <a16:creationId xmlns:a16="http://schemas.microsoft.com/office/drawing/2014/main" id="{F5C25EC6-E1B5-3249-A9DA-8379D65AD0AF}"/>
              </a:ext>
            </a:extLst>
          </p:cNvPr>
          <p:cNvSpPr/>
          <p:nvPr/>
        </p:nvSpPr>
        <p:spPr>
          <a:xfrm>
            <a:off x="9226321" y="2352001"/>
            <a:ext cx="1272713" cy="577081"/>
          </a:xfrm>
          <a:prstGeom prst="rect">
            <a:avLst/>
          </a:prstGeom>
          <a:solidFill>
            <a:schemeClr val="bg1"/>
          </a:solidFill>
          <a:ln w="12700">
            <a:solidFill>
              <a:schemeClr val="tx1"/>
            </a:solidFill>
          </a:ln>
        </p:spPr>
        <p:txBody>
          <a:bodyPr wrap="square">
            <a:spAutoFit/>
          </a:bodyPr>
          <a:lstStyle/>
          <a:p>
            <a:pPr algn="ctr"/>
            <a:r>
              <a:rPr lang="en-US" sz="1050"/>
              <a:t>Tissues and Cells (2004/23/EC), Blood (2002/98/EC)</a:t>
            </a:r>
          </a:p>
        </p:txBody>
      </p:sp>
      <p:sp>
        <p:nvSpPr>
          <p:cNvPr id="49" name="Rectangle 48">
            <a:extLst>
              <a:ext uri="{FF2B5EF4-FFF2-40B4-BE49-F238E27FC236}">
                <a16:creationId xmlns:a16="http://schemas.microsoft.com/office/drawing/2014/main" id="{C87C8E78-FD5F-B648-9505-D3CEFB6F4A07}"/>
              </a:ext>
            </a:extLst>
          </p:cNvPr>
          <p:cNvSpPr/>
          <p:nvPr/>
        </p:nvSpPr>
        <p:spPr>
          <a:xfrm rot="16200000">
            <a:off x="4026465" y="2950419"/>
            <a:ext cx="297416" cy="2403269"/>
          </a:xfrm>
          <a:prstGeom prst="rect">
            <a:avLst/>
          </a:prstGeom>
          <a:solidFill>
            <a:schemeClr val="accent3">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sv-SE" sz="1000" err="1">
                <a:solidFill>
                  <a:schemeClr val="tx1"/>
                </a:solidFill>
              </a:rPr>
              <a:t>Kymriah</a:t>
            </a:r>
            <a:r>
              <a:rPr lang="sv-SE" sz="1000">
                <a:solidFill>
                  <a:schemeClr val="tx1"/>
                </a:solidFill>
              </a:rPr>
              <a:t>, </a:t>
            </a:r>
            <a:r>
              <a:rPr lang="sv-SE" sz="1000" err="1">
                <a:solidFill>
                  <a:schemeClr val="tx1"/>
                </a:solidFill>
              </a:rPr>
              <a:t>Zolgensma</a:t>
            </a:r>
            <a:endParaRPr lang="sv-SE" sz="1000">
              <a:solidFill>
                <a:schemeClr val="tx1"/>
              </a:solidFill>
            </a:endParaRPr>
          </a:p>
        </p:txBody>
      </p:sp>
      <p:sp>
        <p:nvSpPr>
          <p:cNvPr id="51" name="Rectangle 50">
            <a:extLst>
              <a:ext uri="{FF2B5EF4-FFF2-40B4-BE49-F238E27FC236}">
                <a16:creationId xmlns:a16="http://schemas.microsoft.com/office/drawing/2014/main" id="{AB28854A-75F5-C744-8CBD-6A678ECA6765}"/>
              </a:ext>
            </a:extLst>
          </p:cNvPr>
          <p:cNvSpPr/>
          <p:nvPr/>
        </p:nvSpPr>
        <p:spPr>
          <a:xfrm rot="16200000">
            <a:off x="4042172" y="3441822"/>
            <a:ext cx="297416" cy="2403269"/>
          </a:xfrm>
          <a:prstGeom prst="rect">
            <a:avLst/>
          </a:prstGeom>
          <a:solidFill>
            <a:schemeClr val="accent3">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sv-SE" sz="1000" err="1">
                <a:solidFill>
                  <a:schemeClr val="tx1"/>
                </a:solidFill>
              </a:rPr>
              <a:t>Apligraf</a:t>
            </a:r>
            <a:endParaRPr lang="sv-SE" sz="1000">
              <a:solidFill>
                <a:schemeClr val="tx1"/>
              </a:solidFill>
            </a:endParaRPr>
          </a:p>
        </p:txBody>
      </p:sp>
      <p:sp>
        <p:nvSpPr>
          <p:cNvPr id="52" name="Rectangle 51">
            <a:extLst>
              <a:ext uri="{FF2B5EF4-FFF2-40B4-BE49-F238E27FC236}">
                <a16:creationId xmlns:a16="http://schemas.microsoft.com/office/drawing/2014/main" id="{5694BC42-117F-4D47-822C-CB59ECFFF6C4}"/>
              </a:ext>
            </a:extLst>
          </p:cNvPr>
          <p:cNvSpPr/>
          <p:nvPr/>
        </p:nvSpPr>
        <p:spPr>
          <a:xfrm rot="16200000">
            <a:off x="4063353" y="3898097"/>
            <a:ext cx="297416" cy="2403269"/>
          </a:xfrm>
          <a:prstGeom prst="rect">
            <a:avLst/>
          </a:prstGeom>
          <a:solidFill>
            <a:schemeClr val="accent3">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sv-SE" sz="1000" err="1">
                <a:solidFill>
                  <a:schemeClr val="tx1"/>
                </a:solidFill>
              </a:rPr>
              <a:t>Holoclar</a:t>
            </a:r>
            <a:endParaRPr lang="sv-SE" sz="1000">
              <a:solidFill>
                <a:schemeClr val="tx1"/>
              </a:solidFill>
            </a:endParaRPr>
          </a:p>
        </p:txBody>
      </p:sp>
      <p:sp>
        <p:nvSpPr>
          <p:cNvPr id="53" name="Rectangle 52">
            <a:extLst>
              <a:ext uri="{FF2B5EF4-FFF2-40B4-BE49-F238E27FC236}">
                <a16:creationId xmlns:a16="http://schemas.microsoft.com/office/drawing/2014/main" id="{6E21B888-8107-2045-B685-E902C7E75E85}"/>
              </a:ext>
            </a:extLst>
          </p:cNvPr>
          <p:cNvSpPr/>
          <p:nvPr/>
        </p:nvSpPr>
        <p:spPr>
          <a:xfrm rot="16200000">
            <a:off x="4079415" y="4371808"/>
            <a:ext cx="297416" cy="2403269"/>
          </a:xfrm>
          <a:prstGeom prst="rect">
            <a:avLst/>
          </a:prstGeom>
          <a:solidFill>
            <a:schemeClr val="accent3">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sv-SE" sz="1000">
                <a:solidFill>
                  <a:schemeClr val="tx1"/>
                </a:solidFill>
              </a:rPr>
              <a:t>PEC-</a:t>
            </a:r>
            <a:r>
              <a:rPr lang="sv-SE" sz="1000" err="1">
                <a:solidFill>
                  <a:schemeClr val="tx1"/>
                </a:solidFill>
              </a:rPr>
              <a:t>Encap</a:t>
            </a:r>
            <a:endParaRPr lang="sv-SE" sz="1000">
              <a:solidFill>
                <a:schemeClr val="tx1"/>
              </a:solidFill>
            </a:endParaRPr>
          </a:p>
        </p:txBody>
      </p:sp>
      <p:sp>
        <p:nvSpPr>
          <p:cNvPr id="54" name="Rectangle 53">
            <a:extLst>
              <a:ext uri="{FF2B5EF4-FFF2-40B4-BE49-F238E27FC236}">
                <a16:creationId xmlns:a16="http://schemas.microsoft.com/office/drawing/2014/main" id="{FB8C834B-5BDD-F640-9167-D2005DD00A05}"/>
              </a:ext>
            </a:extLst>
          </p:cNvPr>
          <p:cNvSpPr/>
          <p:nvPr/>
        </p:nvSpPr>
        <p:spPr>
          <a:xfrm rot="16200000">
            <a:off x="4063022" y="4814198"/>
            <a:ext cx="297416" cy="2403269"/>
          </a:xfrm>
          <a:prstGeom prst="rect">
            <a:avLst/>
          </a:prstGeom>
          <a:solidFill>
            <a:schemeClr val="accent3">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sv-SE" sz="1000">
                <a:solidFill>
                  <a:schemeClr val="tx1"/>
                </a:solidFill>
              </a:rPr>
              <a:t>Pacemaker, insulin pump</a:t>
            </a:r>
          </a:p>
        </p:txBody>
      </p:sp>
      <p:sp>
        <p:nvSpPr>
          <p:cNvPr id="55" name="Rectangle 21">
            <a:extLst>
              <a:ext uri="{FF2B5EF4-FFF2-40B4-BE49-F238E27FC236}">
                <a16:creationId xmlns:a16="http://schemas.microsoft.com/office/drawing/2014/main" id="{C8CD0054-0B40-49D0-0A0E-D8A7FDDC9325}"/>
              </a:ext>
            </a:extLst>
          </p:cNvPr>
          <p:cNvSpPr/>
          <p:nvPr/>
        </p:nvSpPr>
        <p:spPr>
          <a:xfrm>
            <a:off x="839788" y="3099229"/>
            <a:ext cx="10512196" cy="303673"/>
          </a:xfrm>
          <a:prstGeom prst="rect">
            <a:avLst/>
          </a:prstGeom>
          <a:solidFill>
            <a:schemeClr val="accent3">
              <a:lumMod val="40000"/>
              <a:lumOff val="60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47" name="Up-down Arrow 46">
            <a:extLst>
              <a:ext uri="{FF2B5EF4-FFF2-40B4-BE49-F238E27FC236}">
                <a16:creationId xmlns:a16="http://schemas.microsoft.com/office/drawing/2014/main" id="{C764A978-D52E-BF47-A9A1-2D0E08A79672}"/>
              </a:ext>
            </a:extLst>
          </p:cNvPr>
          <p:cNvSpPr/>
          <p:nvPr/>
        </p:nvSpPr>
        <p:spPr>
          <a:xfrm>
            <a:off x="10359377" y="3095902"/>
            <a:ext cx="676800" cy="308165"/>
          </a:xfrm>
          <a:prstGeom prst="upDownArrow">
            <a:avLst>
              <a:gd name="adj1" fmla="val 100000"/>
              <a:gd name="adj2" fmla="val 2352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endParaRPr lang="en-SE" sz="800"/>
          </a:p>
        </p:txBody>
      </p:sp>
      <p:sp>
        <p:nvSpPr>
          <p:cNvPr id="41" name="Up-down Arrow 40">
            <a:extLst>
              <a:ext uri="{FF2B5EF4-FFF2-40B4-BE49-F238E27FC236}">
                <a16:creationId xmlns:a16="http://schemas.microsoft.com/office/drawing/2014/main" id="{3F4F0F97-8DD1-414C-9337-4B01158B235A}"/>
              </a:ext>
            </a:extLst>
          </p:cNvPr>
          <p:cNvSpPr/>
          <p:nvPr/>
        </p:nvSpPr>
        <p:spPr>
          <a:xfrm>
            <a:off x="5532421" y="2634422"/>
            <a:ext cx="676944" cy="3093662"/>
          </a:xfrm>
          <a:prstGeom prst="upDownArrow">
            <a:avLst>
              <a:gd name="adj1" fmla="val 100000"/>
              <a:gd name="adj2" fmla="val 269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SE" sz="900"/>
              <a:t>Biologics</a:t>
            </a:r>
          </a:p>
        </p:txBody>
      </p:sp>
      <p:sp>
        <p:nvSpPr>
          <p:cNvPr id="39" name="Rectangle 38">
            <a:extLst>
              <a:ext uri="{FF2B5EF4-FFF2-40B4-BE49-F238E27FC236}">
                <a16:creationId xmlns:a16="http://schemas.microsoft.com/office/drawing/2014/main" id="{814A85AC-86B3-F240-87A1-2EEB12D41B48}"/>
              </a:ext>
            </a:extLst>
          </p:cNvPr>
          <p:cNvSpPr/>
          <p:nvPr/>
        </p:nvSpPr>
        <p:spPr>
          <a:xfrm rot="16200000">
            <a:off x="4026464" y="2042976"/>
            <a:ext cx="297416" cy="2403269"/>
          </a:xfrm>
          <a:prstGeom prst="rect">
            <a:avLst/>
          </a:prstGeom>
          <a:solidFill>
            <a:schemeClr val="accent3">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sv-SE" sz="1000" dirty="0" err="1">
                <a:solidFill>
                  <a:schemeClr val="tx1"/>
                </a:solidFill>
              </a:rPr>
              <a:t>Blood</a:t>
            </a:r>
            <a:r>
              <a:rPr lang="sv-SE" sz="1000" dirty="0">
                <a:solidFill>
                  <a:schemeClr val="tx1"/>
                </a:solidFill>
              </a:rPr>
              <a:t> transfusion, </a:t>
            </a:r>
            <a:r>
              <a:rPr lang="sv-SE" sz="1000" dirty="0" err="1">
                <a:solidFill>
                  <a:schemeClr val="tx1"/>
                </a:solidFill>
              </a:rPr>
              <a:t>bone</a:t>
            </a:r>
            <a:r>
              <a:rPr lang="sv-SE" sz="1000" dirty="0">
                <a:solidFill>
                  <a:schemeClr val="tx1"/>
                </a:solidFill>
              </a:rPr>
              <a:t> </a:t>
            </a:r>
            <a:r>
              <a:rPr lang="sv-SE" sz="1000" dirty="0" err="1">
                <a:solidFill>
                  <a:schemeClr val="tx1"/>
                </a:solidFill>
              </a:rPr>
              <a:t>marrow</a:t>
            </a:r>
            <a:r>
              <a:rPr lang="sv-SE" sz="1000" dirty="0">
                <a:solidFill>
                  <a:schemeClr val="tx1"/>
                </a:solidFill>
              </a:rPr>
              <a:t> transplant</a:t>
            </a:r>
          </a:p>
        </p:txBody>
      </p:sp>
      <p:sp>
        <p:nvSpPr>
          <p:cNvPr id="13" name="TextBox 12">
            <a:extLst>
              <a:ext uri="{FF2B5EF4-FFF2-40B4-BE49-F238E27FC236}">
                <a16:creationId xmlns:a16="http://schemas.microsoft.com/office/drawing/2014/main" id="{06222AF4-D078-4F46-B2D6-F55B2B278263}"/>
              </a:ext>
            </a:extLst>
          </p:cNvPr>
          <p:cNvSpPr txBox="1"/>
          <p:nvPr/>
        </p:nvSpPr>
        <p:spPr>
          <a:xfrm>
            <a:off x="928187" y="3111982"/>
            <a:ext cx="2286000" cy="276999"/>
          </a:xfrm>
          <a:prstGeom prst="rect">
            <a:avLst/>
          </a:prstGeom>
          <a:noFill/>
        </p:spPr>
        <p:txBody>
          <a:bodyPr wrap="square" rtlCol="0">
            <a:spAutoFit/>
          </a:bodyPr>
          <a:lstStyle/>
          <a:p>
            <a:r>
              <a:rPr lang="en-SE" sz="1200" b="1"/>
              <a:t>Transplant and Transfusion</a:t>
            </a:r>
            <a:r>
              <a:rPr lang="sv-SE" sz="1200" b="1" dirty="0"/>
              <a:t>*</a:t>
            </a:r>
            <a:endParaRPr lang="en-SE" sz="1200" b="1"/>
          </a:p>
        </p:txBody>
      </p:sp>
      <p:cxnSp>
        <p:nvCxnSpPr>
          <p:cNvPr id="31" name="Elbow Connector 30">
            <a:extLst>
              <a:ext uri="{FF2B5EF4-FFF2-40B4-BE49-F238E27FC236}">
                <a16:creationId xmlns:a16="http://schemas.microsoft.com/office/drawing/2014/main" id="{1B54AEA5-66B7-834D-AD6F-0380AB67521C}"/>
              </a:ext>
            </a:extLst>
          </p:cNvPr>
          <p:cNvCxnSpPr>
            <a:cxnSpLocks/>
            <a:stCxn id="50" idx="2"/>
            <a:endCxn id="47" idx="0"/>
          </p:cNvCxnSpPr>
          <p:nvPr/>
        </p:nvCxnSpPr>
        <p:spPr>
          <a:xfrm rot="16200000" flipH="1">
            <a:off x="10196817" y="2594942"/>
            <a:ext cx="166820" cy="835099"/>
          </a:xfrm>
          <a:prstGeom prst="bentConnector3">
            <a:avLst>
              <a:gd name="adj1" fmla="val 50000"/>
            </a:avLst>
          </a:prstGeom>
          <a:ln w="19050">
            <a:solidFill>
              <a:schemeClr val="tx1"/>
            </a:solidFill>
            <a:tailEnd type="diamond"/>
          </a:ln>
        </p:spPr>
        <p:style>
          <a:lnRef idx="1">
            <a:schemeClr val="accent1"/>
          </a:lnRef>
          <a:fillRef idx="0">
            <a:schemeClr val="accent1"/>
          </a:fillRef>
          <a:effectRef idx="0">
            <a:schemeClr val="accent1"/>
          </a:effectRef>
          <a:fontRef idx="minor">
            <a:schemeClr val="tx1"/>
          </a:fontRef>
        </p:style>
      </p:cxnSp>
      <p:sp>
        <p:nvSpPr>
          <p:cNvPr id="6" name="textruta 5">
            <a:extLst>
              <a:ext uri="{FF2B5EF4-FFF2-40B4-BE49-F238E27FC236}">
                <a16:creationId xmlns:a16="http://schemas.microsoft.com/office/drawing/2014/main" id="{D909015C-367F-F63C-214D-325BDFA0D67A}"/>
              </a:ext>
            </a:extLst>
          </p:cNvPr>
          <p:cNvSpPr txBox="1"/>
          <p:nvPr/>
        </p:nvSpPr>
        <p:spPr>
          <a:xfrm>
            <a:off x="839788" y="6324507"/>
            <a:ext cx="2994793" cy="246221"/>
          </a:xfrm>
          <a:prstGeom prst="rect">
            <a:avLst/>
          </a:prstGeom>
          <a:noFill/>
        </p:spPr>
        <p:txBody>
          <a:bodyPr wrap="square" rtlCol="0">
            <a:spAutoFit/>
          </a:bodyPr>
          <a:lstStyle/>
          <a:p>
            <a:r>
              <a:rPr lang="en-US" sz="1000" dirty="0"/>
              <a:t>*Note: Not a Medicinal product</a:t>
            </a:r>
          </a:p>
        </p:txBody>
      </p:sp>
    </p:spTree>
    <p:extLst>
      <p:ext uri="{BB962C8B-B14F-4D97-AF65-F5344CB8AC3E}">
        <p14:creationId xmlns:p14="http://schemas.microsoft.com/office/powerpoint/2010/main" val="3300982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C37B3-916E-B74E-8C9A-F03CE8A3FA12}"/>
              </a:ext>
            </a:extLst>
          </p:cNvPr>
          <p:cNvSpPr>
            <a:spLocks noGrp="1"/>
          </p:cNvSpPr>
          <p:nvPr>
            <p:ph type="title"/>
          </p:nvPr>
        </p:nvSpPr>
        <p:spPr/>
        <p:txBody>
          <a:bodyPr>
            <a:normAutofit/>
          </a:bodyPr>
          <a:lstStyle/>
          <a:p>
            <a:r>
              <a:rPr lang="en-SE" sz="4000"/>
              <a:t>57% of the 35 identified ATMP companies are located in Sweden </a:t>
            </a:r>
          </a:p>
        </p:txBody>
      </p:sp>
      <p:pic>
        <p:nvPicPr>
          <p:cNvPr id="33" name="圖片 44" descr="一張含有 文字, 美工圖案 的圖片&#10;&#10;自動產生的描述">
            <a:extLst>
              <a:ext uri="{FF2B5EF4-FFF2-40B4-BE49-F238E27FC236}">
                <a16:creationId xmlns:a16="http://schemas.microsoft.com/office/drawing/2014/main" id="{195D86FF-4C50-0B4B-81F5-5C60FF8FCBD4}"/>
              </a:ext>
            </a:extLst>
          </p:cNvPr>
          <p:cNvPicPr>
            <a:picLocks noChangeAspect="1"/>
          </p:cNvPicPr>
          <p:nvPr/>
        </p:nvPicPr>
        <p:blipFill rotWithShape="1">
          <a:blip r:embed="rId3"/>
          <a:srcRect t="9719"/>
          <a:stretch/>
        </p:blipFill>
        <p:spPr>
          <a:xfrm>
            <a:off x="-954939" y="910737"/>
            <a:ext cx="163435" cy="37764"/>
          </a:xfrm>
          <a:prstGeom prst="rect">
            <a:avLst/>
          </a:prstGeom>
        </p:spPr>
      </p:pic>
      <p:sp>
        <p:nvSpPr>
          <p:cNvPr id="169" name="TextBox 168">
            <a:extLst>
              <a:ext uri="{FF2B5EF4-FFF2-40B4-BE49-F238E27FC236}">
                <a16:creationId xmlns:a16="http://schemas.microsoft.com/office/drawing/2014/main" id="{3BCE4EDB-464B-834C-9F8B-720A14EB10C9}"/>
              </a:ext>
            </a:extLst>
          </p:cNvPr>
          <p:cNvSpPr txBox="1"/>
          <p:nvPr/>
        </p:nvSpPr>
        <p:spPr>
          <a:xfrm>
            <a:off x="7108720" y="6388132"/>
            <a:ext cx="2563318" cy="215444"/>
          </a:xfrm>
          <a:prstGeom prst="rect">
            <a:avLst/>
          </a:prstGeom>
          <a:noFill/>
        </p:spPr>
        <p:txBody>
          <a:bodyPr wrap="square" rtlCol="0">
            <a:spAutoFit/>
          </a:bodyPr>
          <a:lstStyle/>
          <a:p>
            <a:r>
              <a:rPr lang="en-SE" sz="800"/>
              <a:t>Sources: MSC analysis based on publicly available data</a:t>
            </a:r>
            <a:endParaRPr lang="en-SE" sz="800">
              <a:highlight>
                <a:srgbClr val="FFFF00"/>
              </a:highlight>
            </a:endParaRPr>
          </a:p>
        </p:txBody>
      </p:sp>
      <p:grpSp>
        <p:nvGrpSpPr>
          <p:cNvPr id="10" name="Group 9">
            <a:extLst>
              <a:ext uri="{FF2B5EF4-FFF2-40B4-BE49-F238E27FC236}">
                <a16:creationId xmlns:a16="http://schemas.microsoft.com/office/drawing/2014/main" id="{D732700D-A858-9D42-BFA3-DDC39289D819}"/>
              </a:ext>
            </a:extLst>
          </p:cNvPr>
          <p:cNvGrpSpPr/>
          <p:nvPr/>
        </p:nvGrpSpPr>
        <p:grpSpPr>
          <a:xfrm>
            <a:off x="846450" y="2367851"/>
            <a:ext cx="10470832" cy="3120460"/>
            <a:chOff x="944993" y="1897012"/>
            <a:chExt cx="9627756" cy="3120460"/>
          </a:xfrm>
        </p:grpSpPr>
        <p:cxnSp>
          <p:nvCxnSpPr>
            <p:cNvPr id="10263" name="Straight Connector 10262">
              <a:extLst>
                <a:ext uri="{FF2B5EF4-FFF2-40B4-BE49-F238E27FC236}">
                  <a16:creationId xmlns:a16="http://schemas.microsoft.com/office/drawing/2014/main" id="{C6F43877-ADA4-2F40-94DC-833B6794AFCB}"/>
                </a:ext>
              </a:extLst>
            </p:cNvPr>
            <p:cNvCxnSpPr>
              <a:cxnSpLocks/>
            </p:cNvCxnSpPr>
            <p:nvPr/>
          </p:nvCxnSpPr>
          <p:spPr>
            <a:xfrm>
              <a:off x="2842830" y="4479084"/>
              <a:ext cx="642021" cy="0"/>
            </a:xfrm>
            <a:prstGeom prst="line">
              <a:avLst/>
            </a:prstGeom>
            <a:ln w="28575">
              <a:solidFill>
                <a:schemeClr val="accent1"/>
              </a:solidFill>
              <a:headEnd type="none"/>
            </a:ln>
          </p:spPr>
          <p:style>
            <a:lnRef idx="1">
              <a:schemeClr val="accent1"/>
            </a:lnRef>
            <a:fillRef idx="0">
              <a:schemeClr val="accent1"/>
            </a:fillRef>
            <a:effectRef idx="0">
              <a:schemeClr val="accent1"/>
            </a:effectRef>
            <a:fontRef idx="minor">
              <a:schemeClr val="tx1"/>
            </a:fontRef>
          </p:style>
        </p:cxnSp>
        <p:pic>
          <p:nvPicPr>
            <p:cNvPr id="40" name="Picture 70" descr="Takura">
              <a:extLst>
                <a:ext uri="{FF2B5EF4-FFF2-40B4-BE49-F238E27FC236}">
                  <a16:creationId xmlns:a16="http://schemas.microsoft.com/office/drawing/2014/main" id="{36E1E9DA-8098-704E-AEA1-90A63F86D6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1578" y="3806381"/>
              <a:ext cx="582984" cy="185890"/>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Elbow Connector 61">
              <a:extLst>
                <a:ext uri="{FF2B5EF4-FFF2-40B4-BE49-F238E27FC236}">
                  <a16:creationId xmlns:a16="http://schemas.microsoft.com/office/drawing/2014/main" id="{D99ACF8E-E9B6-264D-8BB3-BB0CAC70F184}"/>
                </a:ext>
              </a:extLst>
            </p:cNvPr>
            <p:cNvCxnSpPr>
              <a:cxnSpLocks/>
              <a:stCxn id="58" idx="1"/>
            </p:cNvCxnSpPr>
            <p:nvPr/>
          </p:nvCxnSpPr>
          <p:spPr>
            <a:xfrm rot="10800000" flipV="1">
              <a:off x="4354194" y="3111818"/>
              <a:ext cx="1151514" cy="891705"/>
            </a:xfrm>
            <a:prstGeom prst="bentConnector3">
              <a:avLst>
                <a:gd name="adj1" fmla="val 9226"/>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Elbow Connector 92">
              <a:extLst>
                <a:ext uri="{FF2B5EF4-FFF2-40B4-BE49-F238E27FC236}">
                  <a16:creationId xmlns:a16="http://schemas.microsoft.com/office/drawing/2014/main" id="{FA8DDE45-8B11-0A42-968D-EC00F033F593}"/>
                </a:ext>
              </a:extLst>
            </p:cNvPr>
            <p:cNvCxnSpPr>
              <a:cxnSpLocks/>
              <a:stCxn id="60" idx="3"/>
            </p:cNvCxnSpPr>
            <p:nvPr/>
          </p:nvCxnSpPr>
          <p:spPr>
            <a:xfrm>
              <a:off x="2468716" y="3256968"/>
              <a:ext cx="386117" cy="1223964"/>
            </a:xfrm>
            <a:prstGeom prst="bentConnector2">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Elbow Connector 60">
              <a:extLst>
                <a:ext uri="{FF2B5EF4-FFF2-40B4-BE49-F238E27FC236}">
                  <a16:creationId xmlns:a16="http://schemas.microsoft.com/office/drawing/2014/main" id="{AB905137-351B-CF4C-A927-785953744242}"/>
                </a:ext>
              </a:extLst>
            </p:cNvPr>
            <p:cNvCxnSpPr>
              <a:cxnSpLocks/>
              <a:stCxn id="53" idx="3"/>
              <a:endCxn id="149" idx="0"/>
            </p:cNvCxnSpPr>
            <p:nvPr/>
          </p:nvCxnSpPr>
          <p:spPr>
            <a:xfrm>
              <a:off x="2458718" y="2046880"/>
              <a:ext cx="1052659" cy="1258798"/>
            </a:xfrm>
            <a:prstGeom prst="bentConnector2">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32" descr="Sense Biopharma">
              <a:extLst>
                <a:ext uri="{FF2B5EF4-FFF2-40B4-BE49-F238E27FC236}">
                  <a16:creationId xmlns:a16="http://schemas.microsoft.com/office/drawing/2014/main" id="{D92A2765-248D-854F-8FC0-F5332E46F4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0685" y="2170991"/>
              <a:ext cx="673049" cy="18481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2" descr="VERIGRAFT | GAEU">
              <a:extLst>
                <a:ext uri="{FF2B5EF4-FFF2-40B4-BE49-F238E27FC236}">
                  <a16:creationId xmlns:a16="http://schemas.microsoft.com/office/drawing/2014/main" id="{9AEACF0E-F1B9-C64B-BB76-301512F83F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82332" y="4247262"/>
              <a:ext cx="739206" cy="18373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2" descr="Company: Twelve Bio">
              <a:extLst>
                <a:ext uri="{FF2B5EF4-FFF2-40B4-BE49-F238E27FC236}">
                  <a16:creationId xmlns:a16="http://schemas.microsoft.com/office/drawing/2014/main" id="{6855B6E9-FAA7-E44A-A8C6-6E0D2D33DF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49154" y="3809120"/>
              <a:ext cx="674384" cy="36550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8" descr="Procella Therapeutics AB - Cell Therapy Solutions">
              <a:extLst>
                <a:ext uri="{FF2B5EF4-FFF2-40B4-BE49-F238E27FC236}">
                  <a16:creationId xmlns:a16="http://schemas.microsoft.com/office/drawing/2014/main" id="{CF6B38C6-FC2E-124C-B475-7479C909D4C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95673" y="3471498"/>
              <a:ext cx="634857" cy="32515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ytovac | CytoVac A/S is a biotechnology company that is developing a new  method for treatment of cancer.">
              <a:extLst>
                <a:ext uri="{FF2B5EF4-FFF2-40B4-BE49-F238E27FC236}">
                  <a16:creationId xmlns:a16="http://schemas.microsoft.com/office/drawing/2014/main" id="{2EA5A782-3E86-9E4B-A10D-52DD46893DA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2696" y="3940715"/>
              <a:ext cx="674730" cy="24068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6" descr="Pancryos | Insulin Naturally">
              <a:extLst>
                <a:ext uri="{FF2B5EF4-FFF2-40B4-BE49-F238E27FC236}">
                  <a16:creationId xmlns:a16="http://schemas.microsoft.com/office/drawing/2014/main" id="{750927E8-ADAA-8E46-B5C9-CE549024271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18974" y="4188002"/>
              <a:ext cx="674036" cy="17267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8" descr="BOOST Pharma">
              <a:extLst>
                <a:ext uri="{FF2B5EF4-FFF2-40B4-BE49-F238E27FC236}">
                  <a16:creationId xmlns:a16="http://schemas.microsoft.com/office/drawing/2014/main" id="{BB85DB49-85C8-0C4B-9860-BCAFE1C4D74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97361" y="3318077"/>
              <a:ext cx="706245" cy="32765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0" descr="SNIPR BIOME">
              <a:extLst>
                <a:ext uri="{FF2B5EF4-FFF2-40B4-BE49-F238E27FC236}">
                  <a16:creationId xmlns:a16="http://schemas.microsoft.com/office/drawing/2014/main" id="{1CC8C004-9D8A-5144-A5F8-7FAF193492C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38315" y="3603355"/>
              <a:ext cx="706244" cy="17627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6" descr="Aurealis Pharma AG – Swiss Biotech">
              <a:extLst>
                <a:ext uri="{FF2B5EF4-FFF2-40B4-BE49-F238E27FC236}">
                  <a16:creationId xmlns:a16="http://schemas.microsoft.com/office/drawing/2014/main" id="{B3244B08-A506-D148-B64A-48FD09F67FF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45445" y="2189219"/>
              <a:ext cx="580717" cy="51109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8" descr="Curing Blindness With Stem Cells | StemSight | Tampere">
              <a:extLst>
                <a:ext uri="{FF2B5EF4-FFF2-40B4-BE49-F238E27FC236}">
                  <a16:creationId xmlns:a16="http://schemas.microsoft.com/office/drawing/2014/main" id="{8778531E-4EA1-D845-89DF-4622E69E3EB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415879" y="2313664"/>
              <a:ext cx="600321" cy="15183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0" descr="TILT Biotherapeutics Company Profile: Valuation &amp;amp; Investors | PitchBook">
              <a:extLst>
                <a:ext uri="{FF2B5EF4-FFF2-40B4-BE49-F238E27FC236}">
                  <a16:creationId xmlns:a16="http://schemas.microsoft.com/office/drawing/2014/main" id="{6B0EF2C4-CD20-C846-A759-34F2F3614AA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565648" y="2022257"/>
              <a:ext cx="624682" cy="67713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4" descr="Targovax">
              <a:extLst>
                <a:ext uri="{FF2B5EF4-FFF2-40B4-BE49-F238E27FC236}">
                  <a16:creationId xmlns:a16="http://schemas.microsoft.com/office/drawing/2014/main" id="{9B641675-90B6-E64B-ADB4-68ACDA9B342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39031" y="2388895"/>
              <a:ext cx="622157" cy="31089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36" descr="Zelluna Immunotherapy | InnoLife Science Scandinavia">
              <a:extLst>
                <a:ext uri="{FF2B5EF4-FFF2-40B4-BE49-F238E27FC236}">
                  <a16:creationId xmlns:a16="http://schemas.microsoft.com/office/drawing/2014/main" id="{A90C116B-7855-004D-855C-7A599A4347FD}"/>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7119" t="14163" r="7527" b="13547"/>
            <a:stretch/>
          </p:blipFill>
          <p:spPr bwMode="auto">
            <a:xfrm>
              <a:off x="1766631" y="2480554"/>
              <a:ext cx="618018" cy="23343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8">
              <a:extLst>
                <a:ext uri="{FF2B5EF4-FFF2-40B4-BE49-F238E27FC236}">
                  <a16:creationId xmlns:a16="http://schemas.microsoft.com/office/drawing/2014/main" id="{FAFB4F2C-F770-534D-B267-2EA2D9F7560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769322" y="2168674"/>
              <a:ext cx="626909" cy="27750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0" descr="Immunicum">
              <a:extLst>
                <a:ext uri="{FF2B5EF4-FFF2-40B4-BE49-F238E27FC236}">
                  <a16:creationId xmlns:a16="http://schemas.microsoft.com/office/drawing/2014/main" id="{2ED15B16-F4E6-0B47-8605-ACE0A8AE881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372886" y="4086546"/>
              <a:ext cx="618533" cy="7979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2" descr="Asgard Therapeutics | LinkedIn">
              <a:extLst>
                <a:ext uri="{FF2B5EF4-FFF2-40B4-BE49-F238E27FC236}">
                  <a16:creationId xmlns:a16="http://schemas.microsoft.com/office/drawing/2014/main" id="{94A2715B-38F2-554B-A349-B5765EC2A780}"/>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25067" b="24735"/>
            <a:stretch/>
          </p:blipFill>
          <p:spPr bwMode="auto">
            <a:xfrm>
              <a:off x="5607060" y="3626671"/>
              <a:ext cx="622157" cy="338540"/>
            </a:xfrm>
            <a:prstGeom prst="rect">
              <a:avLst/>
            </a:prstGeom>
            <a:noFill/>
            <a:extLst>
              <a:ext uri="{909E8E84-426E-40DD-AFC4-6F175D3DCCD1}">
                <a14:hiddenFill xmlns:a14="http://schemas.microsoft.com/office/drawing/2010/main">
                  <a:solidFill>
                    <a:srgbClr val="FFFFFF"/>
                  </a:solidFill>
                </a14:hiddenFill>
              </a:ext>
            </a:extLst>
          </p:spPr>
        </p:pic>
        <p:pic>
          <p:nvPicPr>
            <p:cNvPr id="34" name="圖片 51">
              <a:extLst>
                <a:ext uri="{FF2B5EF4-FFF2-40B4-BE49-F238E27FC236}">
                  <a16:creationId xmlns:a16="http://schemas.microsoft.com/office/drawing/2014/main" id="{1C6BC73F-EAC0-7C4B-9815-0E652C1F1B03}"/>
                </a:ext>
              </a:extLst>
            </p:cNvPr>
            <p:cNvPicPr>
              <a:picLocks noChangeAspect="1"/>
            </p:cNvPicPr>
            <p:nvPr/>
          </p:nvPicPr>
          <p:blipFill>
            <a:blip r:embed="rId21"/>
            <a:stretch>
              <a:fillRect/>
            </a:stretch>
          </p:blipFill>
          <p:spPr>
            <a:xfrm>
              <a:off x="6368072" y="3705628"/>
              <a:ext cx="634856" cy="340129"/>
            </a:xfrm>
            <a:prstGeom prst="rect">
              <a:avLst/>
            </a:prstGeom>
          </p:spPr>
        </p:pic>
        <p:pic>
          <p:nvPicPr>
            <p:cNvPr id="35" name="Picture 56" descr="XNK Therapeutics">
              <a:extLst>
                <a:ext uri="{FF2B5EF4-FFF2-40B4-BE49-F238E27FC236}">
                  <a16:creationId xmlns:a16="http://schemas.microsoft.com/office/drawing/2014/main" id="{886490CC-C2C5-AC4A-BEB3-FBE52097EBB2}"/>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9523" t="33604" r="9643" b="36537"/>
            <a:stretch/>
          </p:blipFill>
          <p:spPr bwMode="auto">
            <a:xfrm>
              <a:off x="7137636" y="4720171"/>
              <a:ext cx="652793" cy="13722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2" descr="Börsnotering av NEOGAP Therapeutics AB på Annat år Ej satt - Nyemissioner.se">
              <a:extLst>
                <a:ext uri="{FF2B5EF4-FFF2-40B4-BE49-F238E27FC236}">
                  <a16:creationId xmlns:a16="http://schemas.microsoft.com/office/drawing/2014/main" id="{2C9ED7AD-80A1-7F49-B66F-C168C2067B1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82452" y="4652588"/>
              <a:ext cx="628075" cy="16850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4">
              <a:extLst>
                <a:ext uri="{FF2B5EF4-FFF2-40B4-BE49-F238E27FC236}">
                  <a16:creationId xmlns:a16="http://schemas.microsoft.com/office/drawing/2014/main" id="{7B62EED2-19F1-CA49-885E-85A2BF561493}"/>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r="11333" b="9917"/>
            <a:stretch/>
          </p:blipFill>
          <p:spPr bwMode="auto">
            <a:xfrm>
              <a:off x="7148268" y="3995135"/>
              <a:ext cx="628076" cy="23517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6" descr="Xintela AB">
              <a:extLst>
                <a:ext uri="{FF2B5EF4-FFF2-40B4-BE49-F238E27FC236}">
                  <a16:creationId xmlns:a16="http://schemas.microsoft.com/office/drawing/2014/main" id="{DCD09EF8-8D88-B94A-B5E9-002EF39E21F4}"/>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160302" y="4490396"/>
              <a:ext cx="616041" cy="14638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74" descr="Elicera Therapeutics AB">
              <a:extLst>
                <a:ext uri="{FF2B5EF4-FFF2-40B4-BE49-F238E27FC236}">
                  <a16:creationId xmlns:a16="http://schemas.microsoft.com/office/drawing/2014/main" id="{4919FEF4-1752-CF4E-AECD-CCD8228B0BB3}"/>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368072" y="3287704"/>
              <a:ext cx="622157" cy="16488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76" descr="Anocca | A Swedish privately funded biotech company">
              <a:extLst>
                <a:ext uri="{FF2B5EF4-FFF2-40B4-BE49-F238E27FC236}">
                  <a16:creationId xmlns:a16="http://schemas.microsoft.com/office/drawing/2014/main" id="{2DD57A05-EBC7-8045-908E-234466AE78B6}"/>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5608287" y="3446438"/>
              <a:ext cx="612823" cy="12092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78" descr="Amniotics | Medicon Village">
              <a:extLst>
                <a:ext uri="{FF2B5EF4-FFF2-40B4-BE49-F238E27FC236}">
                  <a16:creationId xmlns:a16="http://schemas.microsoft.com/office/drawing/2014/main" id="{BFFE99A9-029F-B542-BD13-47AC18136568}"/>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607059" y="3282880"/>
              <a:ext cx="622157" cy="10924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0" descr="Cline Scientific">
              <a:extLst>
                <a:ext uri="{FF2B5EF4-FFF2-40B4-BE49-F238E27FC236}">
                  <a16:creationId xmlns:a16="http://schemas.microsoft.com/office/drawing/2014/main" id="{97D15FF5-88E9-B54A-B1AD-D910848909CF}"/>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607059" y="4017430"/>
              <a:ext cx="626050" cy="24926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82" descr="Hem - combigene">
              <a:extLst>
                <a:ext uri="{FF2B5EF4-FFF2-40B4-BE49-F238E27FC236}">
                  <a16:creationId xmlns:a16="http://schemas.microsoft.com/office/drawing/2014/main" id="{82585ADC-54E6-DA4C-93D8-B3FB6461CE78}"/>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601939" y="4521182"/>
              <a:ext cx="619170" cy="20416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86">
              <a:extLst>
                <a:ext uri="{FF2B5EF4-FFF2-40B4-BE49-F238E27FC236}">
                  <a16:creationId xmlns:a16="http://schemas.microsoft.com/office/drawing/2014/main" id="{4BD34C75-802B-C644-9A29-A03E8B1547D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386764" y="4370281"/>
              <a:ext cx="618532" cy="22785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88" descr="Idogen">
              <a:extLst>
                <a:ext uri="{FF2B5EF4-FFF2-40B4-BE49-F238E27FC236}">
                  <a16:creationId xmlns:a16="http://schemas.microsoft.com/office/drawing/2014/main" id="{C72B7C88-A5F1-434A-B2EA-46DB266AB686}"/>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6366848" y="3452352"/>
              <a:ext cx="630545" cy="31360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90" descr="NextCell Pharma">
              <a:extLst>
                <a:ext uri="{FF2B5EF4-FFF2-40B4-BE49-F238E27FC236}">
                  <a16:creationId xmlns:a16="http://schemas.microsoft.com/office/drawing/2014/main" id="{4C8AB045-F632-6D4C-B38E-06A52F73270F}"/>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119100" y="3270984"/>
              <a:ext cx="690815" cy="239623"/>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Cbio">
              <a:extLst>
                <a:ext uri="{FF2B5EF4-FFF2-40B4-BE49-F238E27FC236}">
                  <a16:creationId xmlns:a16="http://schemas.microsoft.com/office/drawing/2014/main" id="{FC2FCB1F-7524-BE4C-8508-D120D9F3F55C}"/>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068189" y="3541711"/>
              <a:ext cx="554040" cy="419072"/>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PokeAcell | Poking the power of T cells">
              <a:extLst>
                <a:ext uri="{FF2B5EF4-FFF2-40B4-BE49-F238E27FC236}">
                  <a16:creationId xmlns:a16="http://schemas.microsoft.com/office/drawing/2014/main" id="{17E16435-DED2-0849-81B8-D3538601AC4D}"/>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750184" y="3368535"/>
              <a:ext cx="673268" cy="201065"/>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6" descr="Ambitious Start-up Company in the Cell-Therapy space is Expanding">
              <a:extLst>
                <a:ext uri="{FF2B5EF4-FFF2-40B4-BE49-F238E27FC236}">
                  <a16:creationId xmlns:a16="http://schemas.microsoft.com/office/drawing/2014/main" id="{7C6A233E-1FA7-D04B-8812-C19A957C93CD}"/>
                </a:ext>
              </a:extLst>
            </p:cNvPr>
            <p:cNvSpPr>
              <a:spLocks noChangeAspect="1" noChangeArrowheads="1"/>
            </p:cNvSpPr>
            <p:nvPr/>
          </p:nvSpPr>
          <p:spPr bwMode="auto">
            <a:xfrm>
              <a:off x="4494108" y="2838049"/>
              <a:ext cx="211887" cy="2136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SE"/>
            </a:p>
          </p:txBody>
        </p:sp>
        <p:pic>
          <p:nvPicPr>
            <p:cNvPr id="10250" name="Picture 10" descr="UNIKUM Therapeutics | LinkedIn">
              <a:extLst>
                <a:ext uri="{FF2B5EF4-FFF2-40B4-BE49-F238E27FC236}">
                  <a16:creationId xmlns:a16="http://schemas.microsoft.com/office/drawing/2014/main" id="{B1F6D304-B112-624D-9D1C-54D92EBCB465}"/>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20192" b="46305"/>
            <a:stretch/>
          </p:blipFill>
          <p:spPr bwMode="auto">
            <a:xfrm>
              <a:off x="1757330" y="4139587"/>
              <a:ext cx="663372" cy="224147"/>
            </a:xfrm>
            <a:prstGeom prst="rect">
              <a:avLst/>
            </a:prstGeom>
            <a:noFill/>
            <a:extLst>
              <a:ext uri="{909E8E84-426E-40DD-AFC4-6F175D3DCCD1}">
                <a14:hiddenFill xmlns:a14="http://schemas.microsoft.com/office/drawing/2010/main">
                  <a:solidFill>
                    <a:srgbClr val="FFFFFF"/>
                  </a:solidFill>
                </a14:hiddenFill>
              </a:ext>
            </a:extLst>
          </p:spPr>
        </p:pic>
        <p:pic>
          <p:nvPicPr>
            <p:cNvPr id="54" name="圖片 44" descr="一張含有 文字, 美工圖案 的圖片&#10;&#10;自動產生的描述">
              <a:extLst>
                <a:ext uri="{FF2B5EF4-FFF2-40B4-BE49-F238E27FC236}">
                  <a16:creationId xmlns:a16="http://schemas.microsoft.com/office/drawing/2014/main" id="{6489B38F-12E7-1842-B26E-F273F9987680}"/>
                </a:ext>
              </a:extLst>
            </p:cNvPr>
            <p:cNvPicPr>
              <a:picLocks noChangeAspect="1"/>
            </p:cNvPicPr>
            <p:nvPr/>
          </p:nvPicPr>
          <p:blipFill rotWithShape="1">
            <a:blip r:embed="rId3"/>
            <a:srcRect t="9719"/>
            <a:stretch/>
          </p:blipFill>
          <p:spPr>
            <a:xfrm>
              <a:off x="5608286" y="4326389"/>
              <a:ext cx="626050" cy="144657"/>
            </a:xfrm>
            <a:prstGeom prst="rect">
              <a:avLst/>
            </a:prstGeom>
          </p:spPr>
        </p:pic>
        <p:sp>
          <p:nvSpPr>
            <p:cNvPr id="53" name="Rectangle 52">
              <a:extLst>
                <a:ext uri="{FF2B5EF4-FFF2-40B4-BE49-F238E27FC236}">
                  <a16:creationId xmlns:a16="http://schemas.microsoft.com/office/drawing/2014/main" id="{D99A50ED-1BF4-1747-B1B6-FF8D31E81365}"/>
                </a:ext>
              </a:extLst>
            </p:cNvPr>
            <p:cNvSpPr/>
            <p:nvPr/>
          </p:nvSpPr>
          <p:spPr>
            <a:xfrm>
              <a:off x="944993" y="1957061"/>
              <a:ext cx="1513725" cy="1796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E" sz="1400" b="1">
                  <a:solidFill>
                    <a:schemeClr val="bg1"/>
                  </a:solidFill>
                </a:rPr>
                <a:t>Norway</a:t>
              </a:r>
            </a:p>
          </p:txBody>
        </p:sp>
        <p:sp>
          <p:nvSpPr>
            <p:cNvPr id="55" name="Rectangle 54">
              <a:extLst>
                <a:ext uri="{FF2B5EF4-FFF2-40B4-BE49-F238E27FC236}">
                  <a16:creationId xmlns:a16="http://schemas.microsoft.com/office/drawing/2014/main" id="{6967590D-F8C9-9844-90D3-F6162B59465A}"/>
                </a:ext>
              </a:extLst>
            </p:cNvPr>
            <p:cNvSpPr/>
            <p:nvPr/>
          </p:nvSpPr>
          <p:spPr>
            <a:xfrm>
              <a:off x="6739776" y="1956605"/>
              <a:ext cx="2440686" cy="1796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E" sz="1400" b="1">
                  <a:solidFill>
                    <a:schemeClr val="bg1"/>
                  </a:solidFill>
                </a:rPr>
                <a:t>Finland</a:t>
              </a:r>
            </a:p>
          </p:txBody>
        </p:sp>
        <p:sp>
          <p:nvSpPr>
            <p:cNvPr id="58" name="Rectangle 57">
              <a:extLst>
                <a:ext uri="{FF2B5EF4-FFF2-40B4-BE49-F238E27FC236}">
                  <a16:creationId xmlns:a16="http://schemas.microsoft.com/office/drawing/2014/main" id="{FBE9B74A-7327-A545-800C-67B2E48887B9}"/>
                </a:ext>
              </a:extLst>
            </p:cNvPr>
            <p:cNvSpPr/>
            <p:nvPr/>
          </p:nvSpPr>
          <p:spPr>
            <a:xfrm>
              <a:off x="5505707" y="3025416"/>
              <a:ext cx="5067042" cy="1728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weden, including distribution of focus area</a:t>
              </a:r>
              <a:endParaRPr lang="en-US" sz="1050" b="1">
                <a:solidFill>
                  <a:schemeClr val="bg1"/>
                </a:solidFill>
              </a:endParaRPr>
            </a:p>
          </p:txBody>
        </p:sp>
        <p:sp>
          <p:nvSpPr>
            <p:cNvPr id="60" name="Rectangle 59">
              <a:extLst>
                <a:ext uri="{FF2B5EF4-FFF2-40B4-BE49-F238E27FC236}">
                  <a16:creationId xmlns:a16="http://schemas.microsoft.com/office/drawing/2014/main" id="{546E57BF-008A-6A49-B1DC-E079C7D576F4}"/>
                </a:ext>
              </a:extLst>
            </p:cNvPr>
            <p:cNvSpPr/>
            <p:nvPr/>
          </p:nvSpPr>
          <p:spPr>
            <a:xfrm>
              <a:off x="944993" y="3169103"/>
              <a:ext cx="1523723" cy="175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E" sz="1400" b="1">
                  <a:solidFill>
                    <a:schemeClr val="bg1"/>
                  </a:solidFill>
                </a:rPr>
                <a:t>Denmark</a:t>
              </a:r>
            </a:p>
          </p:txBody>
        </p:sp>
        <p:grpSp>
          <p:nvGrpSpPr>
            <p:cNvPr id="51" name="Group 7">
              <a:extLst>
                <a:ext uri="{FF2B5EF4-FFF2-40B4-BE49-F238E27FC236}">
                  <a16:creationId xmlns:a16="http://schemas.microsoft.com/office/drawing/2014/main" id="{9F3873D0-96B8-154A-A9D5-FE9833F0022B}"/>
                </a:ext>
              </a:extLst>
            </p:cNvPr>
            <p:cNvGrpSpPr>
              <a:grpSpLocks noChangeAspect="1"/>
            </p:cNvGrpSpPr>
            <p:nvPr/>
          </p:nvGrpSpPr>
          <p:grpSpPr>
            <a:xfrm>
              <a:off x="3162372" y="1897012"/>
              <a:ext cx="2188502" cy="2936338"/>
              <a:chOff x="3737327" y="1686351"/>
              <a:chExt cx="1497108" cy="2025308"/>
            </a:xfrm>
            <a:solidFill>
              <a:schemeClr val="accent5"/>
            </a:solidFill>
          </p:grpSpPr>
          <p:sp>
            <p:nvSpPr>
              <p:cNvPr id="68" name="Freeform 32">
                <a:extLst>
                  <a:ext uri="{FF2B5EF4-FFF2-40B4-BE49-F238E27FC236}">
                    <a16:creationId xmlns:a16="http://schemas.microsoft.com/office/drawing/2014/main" id="{98647605-5B0C-0340-8D71-23339F985CE9}"/>
                  </a:ext>
                </a:extLst>
              </p:cNvPr>
              <p:cNvSpPr>
                <a:spLocks/>
              </p:cNvSpPr>
              <p:nvPr/>
            </p:nvSpPr>
            <p:spPr bwMode="auto">
              <a:xfrm>
                <a:off x="4694893" y="1814351"/>
                <a:ext cx="539542" cy="1294576"/>
              </a:xfrm>
              <a:custGeom>
                <a:avLst/>
                <a:gdLst/>
                <a:ahLst/>
                <a:cxnLst>
                  <a:cxn ang="0">
                    <a:pos x="424" y="1492"/>
                  </a:cxn>
                  <a:cxn ang="0">
                    <a:pos x="354" y="1512"/>
                  </a:cxn>
                  <a:cxn ang="0">
                    <a:pos x="290" y="1572"/>
                  </a:cxn>
                  <a:cxn ang="0">
                    <a:pos x="202" y="1596"/>
                  </a:cxn>
                  <a:cxn ang="0">
                    <a:pos x="138" y="1578"/>
                  </a:cxn>
                  <a:cxn ang="0">
                    <a:pos x="120" y="1560"/>
                  </a:cxn>
                  <a:cxn ang="0">
                    <a:pos x="64" y="1530"/>
                  </a:cxn>
                  <a:cxn ang="0">
                    <a:pos x="42" y="1534"/>
                  </a:cxn>
                  <a:cxn ang="0">
                    <a:pos x="28" y="1534"/>
                  </a:cxn>
                  <a:cxn ang="0">
                    <a:pos x="0" y="1508"/>
                  </a:cxn>
                  <a:cxn ang="0">
                    <a:pos x="6" y="1458"/>
                  </a:cxn>
                  <a:cxn ang="0">
                    <a:pos x="16" y="1318"/>
                  </a:cxn>
                  <a:cxn ang="0">
                    <a:pos x="8" y="1262"/>
                  </a:cxn>
                  <a:cxn ang="0">
                    <a:pos x="6" y="1182"/>
                  </a:cxn>
                  <a:cxn ang="0">
                    <a:pos x="6" y="1156"/>
                  </a:cxn>
                  <a:cxn ang="0">
                    <a:pos x="50" y="1100"/>
                  </a:cxn>
                  <a:cxn ang="0">
                    <a:pos x="122" y="1006"/>
                  </a:cxn>
                  <a:cxn ang="0">
                    <a:pos x="182" y="916"/>
                  </a:cxn>
                  <a:cxn ang="0">
                    <a:pos x="202" y="870"/>
                  </a:cxn>
                  <a:cxn ang="0">
                    <a:pos x="210" y="804"/>
                  </a:cxn>
                  <a:cxn ang="0">
                    <a:pos x="238" y="812"/>
                  </a:cxn>
                  <a:cxn ang="0">
                    <a:pos x="240" y="794"/>
                  </a:cxn>
                  <a:cxn ang="0">
                    <a:pos x="226" y="722"/>
                  </a:cxn>
                  <a:cxn ang="0">
                    <a:pos x="202" y="696"/>
                  </a:cxn>
                  <a:cxn ang="0">
                    <a:pos x="168" y="686"/>
                  </a:cxn>
                  <a:cxn ang="0">
                    <a:pos x="154" y="636"/>
                  </a:cxn>
                  <a:cxn ang="0">
                    <a:pos x="150" y="584"/>
                  </a:cxn>
                  <a:cxn ang="0">
                    <a:pos x="150" y="462"/>
                  </a:cxn>
                  <a:cxn ang="0">
                    <a:pos x="138" y="362"/>
                  </a:cxn>
                  <a:cxn ang="0">
                    <a:pos x="120" y="306"/>
                  </a:cxn>
                  <a:cxn ang="0">
                    <a:pos x="90" y="230"/>
                  </a:cxn>
                  <a:cxn ang="0">
                    <a:pos x="110" y="220"/>
                  </a:cxn>
                  <a:cxn ang="0">
                    <a:pos x="198" y="224"/>
                  </a:cxn>
                  <a:cxn ang="0">
                    <a:pos x="222" y="226"/>
                  </a:cxn>
                  <a:cxn ang="0">
                    <a:pos x="250" y="142"/>
                  </a:cxn>
                  <a:cxn ang="0">
                    <a:pos x="292" y="38"/>
                  </a:cxn>
                  <a:cxn ang="0">
                    <a:pos x="332" y="0"/>
                  </a:cxn>
                  <a:cxn ang="0">
                    <a:pos x="376" y="8"/>
                  </a:cxn>
                  <a:cxn ang="0">
                    <a:pos x="434" y="42"/>
                  </a:cxn>
                  <a:cxn ang="0">
                    <a:pos x="470" y="58"/>
                  </a:cxn>
                  <a:cxn ang="0">
                    <a:pos x="452" y="98"/>
                  </a:cxn>
                  <a:cxn ang="0">
                    <a:pos x="406" y="150"/>
                  </a:cxn>
                  <a:cxn ang="0">
                    <a:pos x="410" y="230"/>
                  </a:cxn>
                  <a:cxn ang="0">
                    <a:pos x="418" y="288"/>
                  </a:cxn>
                  <a:cxn ang="0">
                    <a:pos x="470" y="328"/>
                  </a:cxn>
                  <a:cxn ang="0">
                    <a:pos x="504" y="372"/>
                  </a:cxn>
                  <a:cxn ang="0">
                    <a:pos x="484" y="418"/>
                  </a:cxn>
                  <a:cxn ang="0">
                    <a:pos x="464" y="472"/>
                  </a:cxn>
                  <a:cxn ang="0">
                    <a:pos x="464" y="558"/>
                  </a:cxn>
                  <a:cxn ang="0">
                    <a:pos x="500" y="628"/>
                  </a:cxn>
                  <a:cxn ang="0">
                    <a:pos x="520" y="774"/>
                  </a:cxn>
                  <a:cxn ang="0">
                    <a:pos x="534" y="816"/>
                  </a:cxn>
                  <a:cxn ang="0">
                    <a:pos x="540" y="864"/>
                  </a:cxn>
                  <a:cxn ang="0">
                    <a:pos x="560" y="882"/>
                  </a:cxn>
                  <a:cxn ang="0">
                    <a:pos x="574" y="948"/>
                  </a:cxn>
                  <a:cxn ang="0">
                    <a:pos x="634" y="1046"/>
                  </a:cxn>
                  <a:cxn ang="0">
                    <a:pos x="666" y="1120"/>
                  </a:cxn>
                  <a:cxn ang="0">
                    <a:pos x="616" y="1220"/>
                  </a:cxn>
                  <a:cxn ang="0">
                    <a:pos x="612" y="1248"/>
                  </a:cxn>
                  <a:cxn ang="0">
                    <a:pos x="612" y="1282"/>
                  </a:cxn>
                </a:cxnLst>
                <a:rect l="0" t="0" r="r" b="b"/>
                <a:pathLst>
                  <a:path w="666" h="1598">
                    <a:moveTo>
                      <a:pt x="484" y="1460"/>
                    </a:moveTo>
                    <a:lnTo>
                      <a:pt x="484" y="1460"/>
                    </a:lnTo>
                    <a:lnTo>
                      <a:pt x="472" y="1468"/>
                    </a:lnTo>
                    <a:lnTo>
                      <a:pt x="450" y="1480"/>
                    </a:lnTo>
                    <a:lnTo>
                      <a:pt x="424" y="1492"/>
                    </a:lnTo>
                    <a:lnTo>
                      <a:pt x="396" y="1502"/>
                    </a:lnTo>
                    <a:lnTo>
                      <a:pt x="396" y="1502"/>
                    </a:lnTo>
                    <a:lnTo>
                      <a:pt x="374" y="1508"/>
                    </a:lnTo>
                    <a:lnTo>
                      <a:pt x="360" y="1510"/>
                    </a:lnTo>
                    <a:lnTo>
                      <a:pt x="354" y="1512"/>
                    </a:lnTo>
                    <a:lnTo>
                      <a:pt x="346" y="1518"/>
                    </a:lnTo>
                    <a:lnTo>
                      <a:pt x="328" y="1536"/>
                    </a:lnTo>
                    <a:lnTo>
                      <a:pt x="328" y="1536"/>
                    </a:lnTo>
                    <a:lnTo>
                      <a:pt x="302" y="1562"/>
                    </a:lnTo>
                    <a:lnTo>
                      <a:pt x="290" y="1572"/>
                    </a:lnTo>
                    <a:lnTo>
                      <a:pt x="276" y="1582"/>
                    </a:lnTo>
                    <a:lnTo>
                      <a:pt x="260" y="1590"/>
                    </a:lnTo>
                    <a:lnTo>
                      <a:pt x="244" y="1596"/>
                    </a:lnTo>
                    <a:lnTo>
                      <a:pt x="224" y="1598"/>
                    </a:lnTo>
                    <a:lnTo>
                      <a:pt x="202" y="1596"/>
                    </a:lnTo>
                    <a:lnTo>
                      <a:pt x="202" y="1596"/>
                    </a:lnTo>
                    <a:lnTo>
                      <a:pt x="180" y="1592"/>
                    </a:lnTo>
                    <a:lnTo>
                      <a:pt x="162" y="1588"/>
                    </a:lnTo>
                    <a:lnTo>
                      <a:pt x="148" y="1584"/>
                    </a:lnTo>
                    <a:lnTo>
                      <a:pt x="138" y="1578"/>
                    </a:lnTo>
                    <a:lnTo>
                      <a:pt x="130" y="1574"/>
                    </a:lnTo>
                    <a:lnTo>
                      <a:pt x="124" y="1568"/>
                    </a:lnTo>
                    <a:lnTo>
                      <a:pt x="120" y="1564"/>
                    </a:lnTo>
                    <a:lnTo>
                      <a:pt x="120" y="1560"/>
                    </a:lnTo>
                    <a:lnTo>
                      <a:pt x="120" y="1560"/>
                    </a:lnTo>
                    <a:lnTo>
                      <a:pt x="118" y="1556"/>
                    </a:lnTo>
                    <a:lnTo>
                      <a:pt x="114" y="1554"/>
                    </a:lnTo>
                    <a:lnTo>
                      <a:pt x="100" y="1546"/>
                    </a:lnTo>
                    <a:lnTo>
                      <a:pt x="82" y="1536"/>
                    </a:lnTo>
                    <a:lnTo>
                      <a:pt x="64" y="1530"/>
                    </a:lnTo>
                    <a:lnTo>
                      <a:pt x="64" y="1530"/>
                    </a:lnTo>
                    <a:lnTo>
                      <a:pt x="56" y="1528"/>
                    </a:lnTo>
                    <a:lnTo>
                      <a:pt x="50" y="1528"/>
                    </a:lnTo>
                    <a:lnTo>
                      <a:pt x="46" y="1532"/>
                    </a:lnTo>
                    <a:lnTo>
                      <a:pt x="42" y="1534"/>
                    </a:lnTo>
                    <a:lnTo>
                      <a:pt x="40" y="1538"/>
                    </a:lnTo>
                    <a:lnTo>
                      <a:pt x="36" y="1540"/>
                    </a:lnTo>
                    <a:lnTo>
                      <a:pt x="34" y="1538"/>
                    </a:lnTo>
                    <a:lnTo>
                      <a:pt x="28" y="1534"/>
                    </a:lnTo>
                    <a:lnTo>
                      <a:pt x="28" y="1534"/>
                    </a:lnTo>
                    <a:lnTo>
                      <a:pt x="24" y="1528"/>
                    </a:lnTo>
                    <a:lnTo>
                      <a:pt x="18" y="1524"/>
                    </a:lnTo>
                    <a:lnTo>
                      <a:pt x="8" y="1518"/>
                    </a:lnTo>
                    <a:lnTo>
                      <a:pt x="4" y="1514"/>
                    </a:lnTo>
                    <a:lnTo>
                      <a:pt x="0" y="1508"/>
                    </a:lnTo>
                    <a:lnTo>
                      <a:pt x="0" y="1500"/>
                    </a:lnTo>
                    <a:lnTo>
                      <a:pt x="0" y="1490"/>
                    </a:lnTo>
                    <a:lnTo>
                      <a:pt x="0" y="1490"/>
                    </a:lnTo>
                    <a:lnTo>
                      <a:pt x="2" y="1472"/>
                    </a:lnTo>
                    <a:lnTo>
                      <a:pt x="6" y="1458"/>
                    </a:lnTo>
                    <a:lnTo>
                      <a:pt x="8" y="1438"/>
                    </a:lnTo>
                    <a:lnTo>
                      <a:pt x="10" y="1398"/>
                    </a:lnTo>
                    <a:lnTo>
                      <a:pt x="10" y="1398"/>
                    </a:lnTo>
                    <a:lnTo>
                      <a:pt x="12" y="1352"/>
                    </a:lnTo>
                    <a:lnTo>
                      <a:pt x="16" y="1318"/>
                    </a:lnTo>
                    <a:lnTo>
                      <a:pt x="16" y="1302"/>
                    </a:lnTo>
                    <a:lnTo>
                      <a:pt x="16" y="1288"/>
                    </a:lnTo>
                    <a:lnTo>
                      <a:pt x="12" y="1276"/>
                    </a:lnTo>
                    <a:lnTo>
                      <a:pt x="8" y="1262"/>
                    </a:lnTo>
                    <a:lnTo>
                      <a:pt x="8" y="1262"/>
                    </a:lnTo>
                    <a:lnTo>
                      <a:pt x="2" y="1248"/>
                    </a:lnTo>
                    <a:lnTo>
                      <a:pt x="0" y="1234"/>
                    </a:lnTo>
                    <a:lnTo>
                      <a:pt x="0" y="1220"/>
                    </a:lnTo>
                    <a:lnTo>
                      <a:pt x="2" y="1204"/>
                    </a:lnTo>
                    <a:lnTo>
                      <a:pt x="6" y="1182"/>
                    </a:lnTo>
                    <a:lnTo>
                      <a:pt x="8" y="1172"/>
                    </a:lnTo>
                    <a:lnTo>
                      <a:pt x="8" y="1172"/>
                    </a:lnTo>
                    <a:lnTo>
                      <a:pt x="6" y="1170"/>
                    </a:lnTo>
                    <a:lnTo>
                      <a:pt x="6" y="1164"/>
                    </a:lnTo>
                    <a:lnTo>
                      <a:pt x="6" y="1156"/>
                    </a:lnTo>
                    <a:lnTo>
                      <a:pt x="10" y="1146"/>
                    </a:lnTo>
                    <a:lnTo>
                      <a:pt x="18" y="1134"/>
                    </a:lnTo>
                    <a:lnTo>
                      <a:pt x="32" y="1118"/>
                    </a:lnTo>
                    <a:lnTo>
                      <a:pt x="50" y="1100"/>
                    </a:lnTo>
                    <a:lnTo>
                      <a:pt x="50" y="1100"/>
                    </a:lnTo>
                    <a:lnTo>
                      <a:pt x="70" y="1080"/>
                    </a:lnTo>
                    <a:lnTo>
                      <a:pt x="84" y="1064"/>
                    </a:lnTo>
                    <a:lnTo>
                      <a:pt x="96" y="1048"/>
                    </a:lnTo>
                    <a:lnTo>
                      <a:pt x="106" y="1034"/>
                    </a:lnTo>
                    <a:lnTo>
                      <a:pt x="122" y="1006"/>
                    </a:lnTo>
                    <a:lnTo>
                      <a:pt x="138" y="974"/>
                    </a:lnTo>
                    <a:lnTo>
                      <a:pt x="138" y="974"/>
                    </a:lnTo>
                    <a:lnTo>
                      <a:pt x="150" y="956"/>
                    </a:lnTo>
                    <a:lnTo>
                      <a:pt x="162" y="942"/>
                    </a:lnTo>
                    <a:lnTo>
                      <a:pt x="182" y="916"/>
                    </a:lnTo>
                    <a:lnTo>
                      <a:pt x="192" y="904"/>
                    </a:lnTo>
                    <a:lnTo>
                      <a:pt x="198" y="892"/>
                    </a:lnTo>
                    <a:lnTo>
                      <a:pt x="202" y="882"/>
                    </a:lnTo>
                    <a:lnTo>
                      <a:pt x="202" y="870"/>
                    </a:lnTo>
                    <a:lnTo>
                      <a:pt x="202" y="870"/>
                    </a:lnTo>
                    <a:lnTo>
                      <a:pt x="200" y="846"/>
                    </a:lnTo>
                    <a:lnTo>
                      <a:pt x="202" y="824"/>
                    </a:lnTo>
                    <a:lnTo>
                      <a:pt x="202" y="816"/>
                    </a:lnTo>
                    <a:lnTo>
                      <a:pt x="206" y="808"/>
                    </a:lnTo>
                    <a:lnTo>
                      <a:pt x="210" y="804"/>
                    </a:lnTo>
                    <a:lnTo>
                      <a:pt x="214" y="802"/>
                    </a:lnTo>
                    <a:lnTo>
                      <a:pt x="214" y="802"/>
                    </a:lnTo>
                    <a:lnTo>
                      <a:pt x="220" y="802"/>
                    </a:lnTo>
                    <a:lnTo>
                      <a:pt x="226" y="804"/>
                    </a:lnTo>
                    <a:lnTo>
                      <a:pt x="238" y="812"/>
                    </a:lnTo>
                    <a:lnTo>
                      <a:pt x="242" y="814"/>
                    </a:lnTo>
                    <a:lnTo>
                      <a:pt x="244" y="814"/>
                    </a:lnTo>
                    <a:lnTo>
                      <a:pt x="244" y="812"/>
                    </a:lnTo>
                    <a:lnTo>
                      <a:pt x="244" y="806"/>
                    </a:lnTo>
                    <a:lnTo>
                      <a:pt x="240" y="794"/>
                    </a:lnTo>
                    <a:lnTo>
                      <a:pt x="240" y="794"/>
                    </a:lnTo>
                    <a:lnTo>
                      <a:pt x="234" y="778"/>
                    </a:lnTo>
                    <a:lnTo>
                      <a:pt x="232" y="762"/>
                    </a:lnTo>
                    <a:lnTo>
                      <a:pt x="228" y="734"/>
                    </a:lnTo>
                    <a:lnTo>
                      <a:pt x="226" y="722"/>
                    </a:lnTo>
                    <a:lnTo>
                      <a:pt x="224" y="710"/>
                    </a:lnTo>
                    <a:lnTo>
                      <a:pt x="220" y="702"/>
                    </a:lnTo>
                    <a:lnTo>
                      <a:pt x="212" y="698"/>
                    </a:lnTo>
                    <a:lnTo>
                      <a:pt x="212" y="698"/>
                    </a:lnTo>
                    <a:lnTo>
                      <a:pt x="202" y="696"/>
                    </a:lnTo>
                    <a:lnTo>
                      <a:pt x="194" y="696"/>
                    </a:lnTo>
                    <a:lnTo>
                      <a:pt x="182" y="696"/>
                    </a:lnTo>
                    <a:lnTo>
                      <a:pt x="176" y="694"/>
                    </a:lnTo>
                    <a:lnTo>
                      <a:pt x="172" y="692"/>
                    </a:lnTo>
                    <a:lnTo>
                      <a:pt x="168" y="686"/>
                    </a:lnTo>
                    <a:lnTo>
                      <a:pt x="166" y="676"/>
                    </a:lnTo>
                    <a:lnTo>
                      <a:pt x="166" y="676"/>
                    </a:lnTo>
                    <a:lnTo>
                      <a:pt x="164" y="664"/>
                    </a:lnTo>
                    <a:lnTo>
                      <a:pt x="160" y="654"/>
                    </a:lnTo>
                    <a:lnTo>
                      <a:pt x="154" y="636"/>
                    </a:lnTo>
                    <a:lnTo>
                      <a:pt x="150" y="626"/>
                    </a:lnTo>
                    <a:lnTo>
                      <a:pt x="148" y="614"/>
                    </a:lnTo>
                    <a:lnTo>
                      <a:pt x="148" y="600"/>
                    </a:lnTo>
                    <a:lnTo>
                      <a:pt x="150" y="584"/>
                    </a:lnTo>
                    <a:lnTo>
                      <a:pt x="150" y="584"/>
                    </a:lnTo>
                    <a:lnTo>
                      <a:pt x="154" y="550"/>
                    </a:lnTo>
                    <a:lnTo>
                      <a:pt x="156" y="520"/>
                    </a:lnTo>
                    <a:lnTo>
                      <a:pt x="156" y="492"/>
                    </a:lnTo>
                    <a:lnTo>
                      <a:pt x="154" y="478"/>
                    </a:lnTo>
                    <a:lnTo>
                      <a:pt x="150" y="462"/>
                    </a:lnTo>
                    <a:lnTo>
                      <a:pt x="150" y="462"/>
                    </a:lnTo>
                    <a:lnTo>
                      <a:pt x="146" y="448"/>
                    </a:lnTo>
                    <a:lnTo>
                      <a:pt x="144" y="430"/>
                    </a:lnTo>
                    <a:lnTo>
                      <a:pt x="142" y="394"/>
                    </a:lnTo>
                    <a:lnTo>
                      <a:pt x="138" y="362"/>
                    </a:lnTo>
                    <a:lnTo>
                      <a:pt x="136" y="350"/>
                    </a:lnTo>
                    <a:lnTo>
                      <a:pt x="134" y="340"/>
                    </a:lnTo>
                    <a:lnTo>
                      <a:pt x="134" y="340"/>
                    </a:lnTo>
                    <a:lnTo>
                      <a:pt x="126" y="324"/>
                    </a:lnTo>
                    <a:lnTo>
                      <a:pt x="120" y="306"/>
                    </a:lnTo>
                    <a:lnTo>
                      <a:pt x="106" y="266"/>
                    </a:lnTo>
                    <a:lnTo>
                      <a:pt x="106" y="266"/>
                    </a:lnTo>
                    <a:lnTo>
                      <a:pt x="102" y="254"/>
                    </a:lnTo>
                    <a:lnTo>
                      <a:pt x="98" y="244"/>
                    </a:lnTo>
                    <a:lnTo>
                      <a:pt x="90" y="230"/>
                    </a:lnTo>
                    <a:lnTo>
                      <a:pt x="90" y="226"/>
                    </a:lnTo>
                    <a:lnTo>
                      <a:pt x="92" y="224"/>
                    </a:lnTo>
                    <a:lnTo>
                      <a:pt x="98" y="222"/>
                    </a:lnTo>
                    <a:lnTo>
                      <a:pt x="110" y="220"/>
                    </a:lnTo>
                    <a:lnTo>
                      <a:pt x="110" y="220"/>
                    </a:lnTo>
                    <a:lnTo>
                      <a:pt x="138" y="220"/>
                    </a:lnTo>
                    <a:lnTo>
                      <a:pt x="160" y="218"/>
                    </a:lnTo>
                    <a:lnTo>
                      <a:pt x="180" y="218"/>
                    </a:lnTo>
                    <a:lnTo>
                      <a:pt x="188" y="220"/>
                    </a:lnTo>
                    <a:lnTo>
                      <a:pt x="198" y="224"/>
                    </a:lnTo>
                    <a:lnTo>
                      <a:pt x="198" y="224"/>
                    </a:lnTo>
                    <a:lnTo>
                      <a:pt x="204" y="228"/>
                    </a:lnTo>
                    <a:lnTo>
                      <a:pt x="212" y="230"/>
                    </a:lnTo>
                    <a:lnTo>
                      <a:pt x="218" y="230"/>
                    </a:lnTo>
                    <a:lnTo>
                      <a:pt x="222" y="226"/>
                    </a:lnTo>
                    <a:lnTo>
                      <a:pt x="228" y="220"/>
                    </a:lnTo>
                    <a:lnTo>
                      <a:pt x="232" y="212"/>
                    </a:lnTo>
                    <a:lnTo>
                      <a:pt x="240" y="186"/>
                    </a:lnTo>
                    <a:lnTo>
                      <a:pt x="240" y="186"/>
                    </a:lnTo>
                    <a:lnTo>
                      <a:pt x="250" y="142"/>
                    </a:lnTo>
                    <a:lnTo>
                      <a:pt x="256" y="112"/>
                    </a:lnTo>
                    <a:lnTo>
                      <a:pt x="256" y="112"/>
                    </a:lnTo>
                    <a:lnTo>
                      <a:pt x="266" y="88"/>
                    </a:lnTo>
                    <a:lnTo>
                      <a:pt x="282" y="54"/>
                    </a:lnTo>
                    <a:lnTo>
                      <a:pt x="292" y="38"/>
                    </a:lnTo>
                    <a:lnTo>
                      <a:pt x="302" y="22"/>
                    </a:lnTo>
                    <a:lnTo>
                      <a:pt x="312" y="10"/>
                    </a:lnTo>
                    <a:lnTo>
                      <a:pt x="322" y="4"/>
                    </a:lnTo>
                    <a:lnTo>
                      <a:pt x="322" y="4"/>
                    </a:lnTo>
                    <a:lnTo>
                      <a:pt x="332" y="0"/>
                    </a:lnTo>
                    <a:lnTo>
                      <a:pt x="340" y="0"/>
                    </a:lnTo>
                    <a:lnTo>
                      <a:pt x="350" y="0"/>
                    </a:lnTo>
                    <a:lnTo>
                      <a:pt x="358" y="2"/>
                    </a:lnTo>
                    <a:lnTo>
                      <a:pt x="368" y="4"/>
                    </a:lnTo>
                    <a:lnTo>
                      <a:pt x="376" y="8"/>
                    </a:lnTo>
                    <a:lnTo>
                      <a:pt x="392" y="20"/>
                    </a:lnTo>
                    <a:lnTo>
                      <a:pt x="392" y="20"/>
                    </a:lnTo>
                    <a:lnTo>
                      <a:pt x="402" y="28"/>
                    </a:lnTo>
                    <a:lnTo>
                      <a:pt x="412" y="32"/>
                    </a:lnTo>
                    <a:lnTo>
                      <a:pt x="434" y="42"/>
                    </a:lnTo>
                    <a:lnTo>
                      <a:pt x="452" y="48"/>
                    </a:lnTo>
                    <a:lnTo>
                      <a:pt x="464" y="54"/>
                    </a:lnTo>
                    <a:lnTo>
                      <a:pt x="464" y="54"/>
                    </a:lnTo>
                    <a:lnTo>
                      <a:pt x="468" y="56"/>
                    </a:lnTo>
                    <a:lnTo>
                      <a:pt x="470" y="58"/>
                    </a:lnTo>
                    <a:lnTo>
                      <a:pt x="470" y="66"/>
                    </a:lnTo>
                    <a:lnTo>
                      <a:pt x="468" y="76"/>
                    </a:lnTo>
                    <a:lnTo>
                      <a:pt x="468" y="76"/>
                    </a:lnTo>
                    <a:lnTo>
                      <a:pt x="462" y="88"/>
                    </a:lnTo>
                    <a:lnTo>
                      <a:pt x="452" y="98"/>
                    </a:lnTo>
                    <a:lnTo>
                      <a:pt x="440" y="108"/>
                    </a:lnTo>
                    <a:lnTo>
                      <a:pt x="440" y="108"/>
                    </a:lnTo>
                    <a:lnTo>
                      <a:pt x="426" y="120"/>
                    </a:lnTo>
                    <a:lnTo>
                      <a:pt x="414" y="134"/>
                    </a:lnTo>
                    <a:lnTo>
                      <a:pt x="406" y="150"/>
                    </a:lnTo>
                    <a:lnTo>
                      <a:pt x="404" y="156"/>
                    </a:lnTo>
                    <a:lnTo>
                      <a:pt x="402" y="164"/>
                    </a:lnTo>
                    <a:lnTo>
                      <a:pt x="402" y="164"/>
                    </a:lnTo>
                    <a:lnTo>
                      <a:pt x="406" y="196"/>
                    </a:lnTo>
                    <a:lnTo>
                      <a:pt x="410" y="230"/>
                    </a:lnTo>
                    <a:lnTo>
                      <a:pt x="410" y="230"/>
                    </a:lnTo>
                    <a:lnTo>
                      <a:pt x="410" y="260"/>
                    </a:lnTo>
                    <a:lnTo>
                      <a:pt x="414" y="276"/>
                    </a:lnTo>
                    <a:lnTo>
                      <a:pt x="418" y="288"/>
                    </a:lnTo>
                    <a:lnTo>
                      <a:pt x="418" y="288"/>
                    </a:lnTo>
                    <a:lnTo>
                      <a:pt x="422" y="294"/>
                    </a:lnTo>
                    <a:lnTo>
                      <a:pt x="430" y="298"/>
                    </a:lnTo>
                    <a:lnTo>
                      <a:pt x="446" y="310"/>
                    </a:lnTo>
                    <a:lnTo>
                      <a:pt x="462" y="322"/>
                    </a:lnTo>
                    <a:lnTo>
                      <a:pt x="470" y="328"/>
                    </a:lnTo>
                    <a:lnTo>
                      <a:pt x="474" y="334"/>
                    </a:lnTo>
                    <a:lnTo>
                      <a:pt x="474" y="334"/>
                    </a:lnTo>
                    <a:lnTo>
                      <a:pt x="498" y="360"/>
                    </a:lnTo>
                    <a:lnTo>
                      <a:pt x="502" y="366"/>
                    </a:lnTo>
                    <a:lnTo>
                      <a:pt x="504" y="372"/>
                    </a:lnTo>
                    <a:lnTo>
                      <a:pt x="506" y="378"/>
                    </a:lnTo>
                    <a:lnTo>
                      <a:pt x="504" y="386"/>
                    </a:lnTo>
                    <a:lnTo>
                      <a:pt x="504" y="386"/>
                    </a:lnTo>
                    <a:lnTo>
                      <a:pt x="496" y="400"/>
                    </a:lnTo>
                    <a:lnTo>
                      <a:pt x="484" y="418"/>
                    </a:lnTo>
                    <a:lnTo>
                      <a:pt x="472" y="436"/>
                    </a:lnTo>
                    <a:lnTo>
                      <a:pt x="468" y="446"/>
                    </a:lnTo>
                    <a:lnTo>
                      <a:pt x="468" y="454"/>
                    </a:lnTo>
                    <a:lnTo>
                      <a:pt x="468" y="454"/>
                    </a:lnTo>
                    <a:lnTo>
                      <a:pt x="464" y="472"/>
                    </a:lnTo>
                    <a:lnTo>
                      <a:pt x="458" y="492"/>
                    </a:lnTo>
                    <a:lnTo>
                      <a:pt x="458" y="506"/>
                    </a:lnTo>
                    <a:lnTo>
                      <a:pt x="458" y="522"/>
                    </a:lnTo>
                    <a:lnTo>
                      <a:pt x="460" y="538"/>
                    </a:lnTo>
                    <a:lnTo>
                      <a:pt x="464" y="558"/>
                    </a:lnTo>
                    <a:lnTo>
                      <a:pt x="464" y="558"/>
                    </a:lnTo>
                    <a:lnTo>
                      <a:pt x="480" y="584"/>
                    </a:lnTo>
                    <a:lnTo>
                      <a:pt x="492" y="608"/>
                    </a:lnTo>
                    <a:lnTo>
                      <a:pt x="500" y="628"/>
                    </a:lnTo>
                    <a:lnTo>
                      <a:pt x="500" y="628"/>
                    </a:lnTo>
                    <a:lnTo>
                      <a:pt x="524" y="712"/>
                    </a:lnTo>
                    <a:lnTo>
                      <a:pt x="524" y="712"/>
                    </a:lnTo>
                    <a:lnTo>
                      <a:pt x="524" y="726"/>
                    </a:lnTo>
                    <a:lnTo>
                      <a:pt x="522" y="750"/>
                    </a:lnTo>
                    <a:lnTo>
                      <a:pt x="520" y="774"/>
                    </a:lnTo>
                    <a:lnTo>
                      <a:pt x="520" y="788"/>
                    </a:lnTo>
                    <a:lnTo>
                      <a:pt x="520" y="788"/>
                    </a:lnTo>
                    <a:lnTo>
                      <a:pt x="522" y="796"/>
                    </a:lnTo>
                    <a:lnTo>
                      <a:pt x="528" y="806"/>
                    </a:lnTo>
                    <a:lnTo>
                      <a:pt x="534" y="816"/>
                    </a:lnTo>
                    <a:lnTo>
                      <a:pt x="538" y="826"/>
                    </a:lnTo>
                    <a:lnTo>
                      <a:pt x="538" y="826"/>
                    </a:lnTo>
                    <a:lnTo>
                      <a:pt x="540" y="838"/>
                    </a:lnTo>
                    <a:lnTo>
                      <a:pt x="538" y="852"/>
                    </a:lnTo>
                    <a:lnTo>
                      <a:pt x="540" y="864"/>
                    </a:lnTo>
                    <a:lnTo>
                      <a:pt x="542" y="870"/>
                    </a:lnTo>
                    <a:lnTo>
                      <a:pt x="546" y="874"/>
                    </a:lnTo>
                    <a:lnTo>
                      <a:pt x="546" y="874"/>
                    </a:lnTo>
                    <a:lnTo>
                      <a:pt x="554" y="878"/>
                    </a:lnTo>
                    <a:lnTo>
                      <a:pt x="560" y="882"/>
                    </a:lnTo>
                    <a:lnTo>
                      <a:pt x="564" y="888"/>
                    </a:lnTo>
                    <a:lnTo>
                      <a:pt x="568" y="900"/>
                    </a:lnTo>
                    <a:lnTo>
                      <a:pt x="568" y="900"/>
                    </a:lnTo>
                    <a:lnTo>
                      <a:pt x="572" y="938"/>
                    </a:lnTo>
                    <a:lnTo>
                      <a:pt x="574" y="948"/>
                    </a:lnTo>
                    <a:lnTo>
                      <a:pt x="578" y="960"/>
                    </a:lnTo>
                    <a:lnTo>
                      <a:pt x="584" y="972"/>
                    </a:lnTo>
                    <a:lnTo>
                      <a:pt x="592" y="986"/>
                    </a:lnTo>
                    <a:lnTo>
                      <a:pt x="592" y="986"/>
                    </a:lnTo>
                    <a:lnTo>
                      <a:pt x="634" y="1046"/>
                    </a:lnTo>
                    <a:lnTo>
                      <a:pt x="652" y="1072"/>
                    </a:lnTo>
                    <a:lnTo>
                      <a:pt x="664" y="1090"/>
                    </a:lnTo>
                    <a:lnTo>
                      <a:pt x="664" y="1090"/>
                    </a:lnTo>
                    <a:lnTo>
                      <a:pt x="666" y="1104"/>
                    </a:lnTo>
                    <a:lnTo>
                      <a:pt x="666" y="1120"/>
                    </a:lnTo>
                    <a:lnTo>
                      <a:pt x="662" y="1140"/>
                    </a:lnTo>
                    <a:lnTo>
                      <a:pt x="652" y="1160"/>
                    </a:lnTo>
                    <a:lnTo>
                      <a:pt x="652" y="1160"/>
                    </a:lnTo>
                    <a:lnTo>
                      <a:pt x="626" y="1202"/>
                    </a:lnTo>
                    <a:lnTo>
                      <a:pt x="616" y="1220"/>
                    </a:lnTo>
                    <a:lnTo>
                      <a:pt x="614" y="1228"/>
                    </a:lnTo>
                    <a:lnTo>
                      <a:pt x="612" y="1236"/>
                    </a:lnTo>
                    <a:lnTo>
                      <a:pt x="612" y="1236"/>
                    </a:lnTo>
                    <a:lnTo>
                      <a:pt x="612" y="1242"/>
                    </a:lnTo>
                    <a:lnTo>
                      <a:pt x="612" y="1248"/>
                    </a:lnTo>
                    <a:lnTo>
                      <a:pt x="616" y="1260"/>
                    </a:lnTo>
                    <a:lnTo>
                      <a:pt x="618" y="1270"/>
                    </a:lnTo>
                    <a:lnTo>
                      <a:pt x="616" y="1276"/>
                    </a:lnTo>
                    <a:lnTo>
                      <a:pt x="612" y="1282"/>
                    </a:lnTo>
                    <a:lnTo>
                      <a:pt x="612" y="1282"/>
                    </a:lnTo>
                    <a:lnTo>
                      <a:pt x="574" y="1340"/>
                    </a:lnTo>
                    <a:lnTo>
                      <a:pt x="546" y="1382"/>
                    </a:lnTo>
                    <a:lnTo>
                      <a:pt x="484" y="1460"/>
                    </a:lnTo>
                    <a:close/>
                  </a:path>
                </a:pathLst>
              </a:custGeom>
              <a:solidFill>
                <a:schemeClr val="accent5">
                  <a:lumMod val="20000"/>
                  <a:lumOff val="80000"/>
                </a:schemeClr>
              </a:solidFill>
              <a:ln w="6350" cap="rnd" cmpd="sng">
                <a:no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33">
                <a:extLst>
                  <a:ext uri="{FF2B5EF4-FFF2-40B4-BE49-F238E27FC236}">
                    <a16:creationId xmlns:a16="http://schemas.microsoft.com/office/drawing/2014/main" id="{CAC63E15-4DD7-2949-A9BD-CB9B2414315C}"/>
                  </a:ext>
                </a:extLst>
              </p:cNvPr>
              <p:cNvSpPr>
                <a:spLocks/>
              </p:cNvSpPr>
              <p:nvPr/>
            </p:nvSpPr>
            <p:spPr bwMode="auto">
              <a:xfrm>
                <a:off x="4084059" y="1887262"/>
                <a:ext cx="742073" cy="1796853"/>
              </a:xfrm>
              <a:custGeom>
                <a:avLst/>
                <a:gdLst/>
                <a:ahLst/>
                <a:cxnLst>
                  <a:cxn ang="0">
                    <a:pos x="868" y="600"/>
                  </a:cxn>
                  <a:cxn ang="0">
                    <a:pos x="848" y="576"/>
                  </a:cxn>
                  <a:cxn ang="0">
                    <a:pos x="758" y="724"/>
                  </a:cxn>
                  <a:cxn ang="0">
                    <a:pos x="766" y="768"/>
                  </a:cxn>
                  <a:cxn ang="0">
                    <a:pos x="730" y="870"/>
                  </a:cxn>
                  <a:cxn ang="0">
                    <a:pos x="640" y="940"/>
                  </a:cxn>
                  <a:cxn ang="0">
                    <a:pos x="588" y="986"/>
                  </a:cxn>
                  <a:cxn ang="0">
                    <a:pos x="554" y="1044"/>
                  </a:cxn>
                  <a:cxn ang="0">
                    <a:pos x="534" y="1046"/>
                  </a:cxn>
                  <a:cxn ang="0">
                    <a:pos x="518" y="1098"/>
                  </a:cxn>
                  <a:cxn ang="0">
                    <a:pos x="480" y="1126"/>
                  </a:cxn>
                  <a:cxn ang="0">
                    <a:pos x="488" y="1190"/>
                  </a:cxn>
                  <a:cxn ang="0">
                    <a:pos x="450" y="1266"/>
                  </a:cxn>
                  <a:cxn ang="0">
                    <a:pos x="452" y="1370"/>
                  </a:cxn>
                  <a:cxn ang="0">
                    <a:pos x="522" y="1426"/>
                  </a:cxn>
                  <a:cxn ang="0">
                    <a:pos x="574" y="1486"/>
                  </a:cxn>
                  <a:cxn ang="0">
                    <a:pos x="576" y="1590"/>
                  </a:cxn>
                  <a:cxn ang="0">
                    <a:pos x="512" y="1670"/>
                  </a:cxn>
                  <a:cxn ang="0">
                    <a:pos x="434" y="1722"/>
                  </a:cxn>
                  <a:cxn ang="0">
                    <a:pos x="400" y="1848"/>
                  </a:cxn>
                  <a:cxn ang="0">
                    <a:pos x="384" y="1980"/>
                  </a:cxn>
                  <a:cxn ang="0">
                    <a:pos x="410" y="1964"/>
                  </a:cxn>
                  <a:cxn ang="0">
                    <a:pos x="392" y="2040"/>
                  </a:cxn>
                  <a:cxn ang="0">
                    <a:pos x="372" y="2026"/>
                  </a:cxn>
                  <a:cxn ang="0">
                    <a:pos x="360" y="2084"/>
                  </a:cxn>
                  <a:cxn ang="0">
                    <a:pos x="282" y="2088"/>
                  </a:cxn>
                  <a:cxn ang="0">
                    <a:pos x="194" y="2112"/>
                  </a:cxn>
                  <a:cxn ang="0">
                    <a:pos x="212" y="2180"/>
                  </a:cxn>
                  <a:cxn ang="0">
                    <a:pos x="144" y="2188"/>
                  </a:cxn>
                  <a:cxn ang="0">
                    <a:pos x="86" y="2200"/>
                  </a:cxn>
                  <a:cxn ang="0">
                    <a:pos x="76" y="2074"/>
                  </a:cxn>
                  <a:cxn ang="0">
                    <a:pos x="96" y="2014"/>
                  </a:cxn>
                  <a:cxn ang="0">
                    <a:pos x="60" y="1948"/>
                  </a:cxn>
                  <a:cxn ang="0">
                    <a:pos x="30" y="1788"/>
                  </a:cxn>
                  <a:cxn ang="0">
                    <a:pos x="26" y="1702"/>
                  </a:cxn>
                  <a:cxn ang="0">
                    <a:pos x="0" y="1716"/>
                  </a:cxn>
                  <a:cxn ang="0">
                    <a:pos x="28" y="1620"/>
                  </a:cxn>
                  <a:cxn ang="0">
                    <a:pos x="40" y="1578"/>
                  </a:cxn>
                  <a:cxn ang="0">
                    <a:pos x="46" y="1504"/>
                  </a:cxn>
                  <a:cxn ang="0">
                    <a:pos x="112" y="1446"/>
                  </a:cxn>
                  <a:cxn ang="0">
                    <a:pos x="122" y="1322"/>
                  </a:cxn>
                  <a:cxn ang="0">
                    <a:pos x="144" y="1176"/>
                  </a:cxn>
                  <a:cxn ang="0">
                    <a:pos x="160" y="962"/>
                  </a:cxn>
                  <a:cxn ang="0">
                    <a:pos x="142" y="942"/>
                  </a:cxn>
                  <a:cxn ang="0">
                    <a:pos x="242" y="814"/>
                  </a:cxn>
                  <a:cxn ang="0">
                    <a:pos x="318" y="796"/>
                  </a:cxn>
                  <a:cxn ang="0">
                    <a:pos x="370" y="610"/>
                  </a:cxn>
                  <a:cxn ang="0">
                    <a:pos x="372" y="496"/>
                  </a:cxn>
                  <a:cxn ang="0">
                    <a:pos x="414" y="488"/>
                  </a:cxn>
                  <a:cxn ang="0">
                    <a:pos x="460" y="416"/>
                  </a:cxn>
                  <a:cxn ang="0">
                    <a:pos x="500" y="376"/>
                  </a:cxn>
                  <a:cxn ang="0">
                    <a:pos x="488" y="338"/>
                  </a:cxn>
                  <a:cxn ang="0">
                    <a:pos x="590" y="226"/>
                  </a:cxn>
                  <a:cxn ang="0">
                    <a:pos x="596" y="176"/>
                  </a:cxn>
                  <a:cxn ang="0">
                    <a:pos x="676" y="160"/>
                  </a:cxn>
                  <a:cxn ang="0">
                    <a:pos x="758" y="134"/>
                  </a:cxn>
                  <a:cxn ang="0">
                    <a:pos x="722" y="106"/>
                  </a:cxn>
                  <a:cxn ang="0">
                    <a:pos x="790" y="4"/>
                  </a:cxn>
                  <a:cxn ang="0">
                    <a:pos x="832" y="76"/>
                  </a:cxn>
                  <a:cxn ang="0">
                    <a:pos x="878" y="220"/>
                  </a:cxn>
                  <a:cxn ang="0">
                    <a:pos x="902" y="346"/>
                  </a:cxn>
                  <a:cxn ang="0">
                    <a:pos x="904" y="480"/>
                  </a:cxn>
                  <a:cxn ang="0">
                    <a:pos x="916" y="576"/>
                  </a:cxn>
                </a:cxnLst>
                <a:rect l="0" t="0" r="r" b="b"/>
                <a:pathLst>
                  <a:path w="916" h="2218">
                    <a:moveTo>
                      <a:pt x="912" y="592"/>
                    </a:moveTo>
                    <a:lnTo>
                      <a:pt x="890" y="588"/>
                    </a:lnTo>
                    <a:lnTo>
                      <a:pt x="890" y="588"/>
                    </a:lnTo>
                    <a:lnTo>
                      <a:pt x="888" y="590"/>
                    </a:lnTo>
                    <a:lnTo>
                      <a:pt x="882" y="596"/>
                    </a:lnTo>
                    <a:lnTo>
                      <a:pt x="878" y="600"/>
                    </a:lnTo>
                    <a:lnTo>
                      <a:pt x="874" y="600"/>
                    </a:lnTo>
                    <a:lnTo>
                      <a:pt x="868" y="600"/>
                    </a:lnTo>
                    <a:lnTo>
                      <a:pt x="864" y="598"/>
                    </a:lnTo>
                    <a:lnTo>
                      <a:pt x="864" y="598"/>
                    </a:lnTo>
                    <a:lnTo>
                      <a:pt x="858" y="594"/>
                    </a:lnTo>
                    <a:lnTo>
                      <a:pt x="856" y="588"/>
                    </a:lnTo>
                    <a:lnTo>
                      <a:pt x="854" y="576"/>
                    </a:lnTo>
                    <a:lnTo>
                      <a:pt x="854" y="572"/>
                    </a:lnTo>
                    <a:lnTo>
                      <a:pt x="852" y="572"/>
                    </a:lnTo>
                    <a:lnTo>
                      <a:pt x="848" y="576"/>
                    </a:lnTo>
                    <a:lnTo>
                      <a:pt x="842" y="586"/>
                    </a:lnTo>
                    <a:lnTo>
                      <a:pt x="842" y="586"/>
                    </a:lnTo>
                    <a:lnTo>
                      <a:pt x="824" y="616"/>
                    </a:lnTo>
                    <a:lnTo>
                      <a:pt x="804" y="646"/>
                    </a:lnTo>
                    <a:lnTo>
                      <a:pt x="782" y="680"/>
                    </a:lnTo>
                    <a:lnTo>
                      <a:pt x="782" y="680"/>
                    </a:lnTo>
                    <a:lnTo>
                      <a:pt x="768" y="704"/>
                    </a:lnTo>
                    <a:lnTo>
                      <a:pt x="758" y="724"/>
                    </a:lnTo>
                    <a:lnTo>
                      <a:pt x="754" y="732"/>
                    </a:lnTo>
                    <a:lnTo>
                      <a:pt x="754" y="740"/>
                    </a:lnTo>
                    <a:lnTo>
                      <a:pt x="754" y="740"/>
                    </a:lnTo>
                    <a:lnTo>
                      <a:pt x="754" y="744"/>
                    </a:lnTo>
                    <a:lnTo>
                      <a:pt x="756" y="748"/>
                    </a:lnTo>
                    <a:lnTo>
                      <a:pt x="762" y="758"/>
                    </a:lnTo>
                    <a:lnTo>
                      <a:pt x="764" y="762"/>
                    </a:lnTo>
                    <a:lnTo>
                      <a:pt x="766" y="768"/>
                    </a:lnTo>
                    <a:lnTo>
                      <a:pt x="766" y="776"/>
                    </a:lnTo>
                    <a:lnTo>
                      <a:pt x="764" y="784"/>
                    </a:lnTo>
                    <a:lnTo>
                      <a:pt x="764" y="784"/>
                    </a:lnTo>
                    <a:lnTo>
                      <a:pt x="758" y="806"/>
                    </a:lnTo>
                    <a:lnTo>
                      <a:pt x="750" y="828"/>
                    </a:lnTo>
                    <a:lnTo>
                      <a:pt x="740" y="850"/>
                    </a:lnTo>
                    <a:lnTo>
                      <a:pt x="730" y="870"/>
                    </a:lnTo>
                    <a:lnTo>
                      <a:pt x="730" y="870"/>
                    </a:lnTo>
                    <a:lnTo>
                      <a:pt x="710" y="900"/>
                    </a:lnTo>
                    <a:lnTo>
                      <a:pt x="702" y="910"/>
                    </a:lnTo>
                    <a:lnTo>
                      <a:pt x="696" y="914"/>
                    </a:lnTo>
                    <a:lnTo>
                      <a:pt x="692" y="916"/>
                    </a:lnTo>
                    <a:lnTo>
                      <a:pt x="692" y="916"/>
                    </a:lnTo>
                    <a:lnTo>
                      <a:pt x="670" y="922"/>
                    </a:lnTo>
                    <a:lnTo>
                      <a:pt x="656" y="928"/>
                    </a:lnTo>
                    <a:lnTo>
                      <a:pt x="640" y="940"/>
                    </a:lnTo>
                    <a:lnTo>
                      <a:pt x="640" y="940"/>
                    </a:lnTo>
                    <a:lnTo>
                      <a:pt x="622" y="954"/>
                    </a:lnTo>
                    <a:lnTo>
                      <a:pt x="612" y="966"/>
                    </a:lnTo>
                    <a:lnTo>
                      <a:pt x="600" y="982"/>
                    </a:lnTo>
                    <a:lnTo>
                      <a:pt x="600" y="982"/>
                    </a:lnTo>
                    <a:lnTo>
                      <a:pt x="598" y="984"/>
                    </a:lnTo>
                    <a:lnTo>
                      <a:pt x="592" y="984"/>
                    </a:lnTo>
                    <a:lnTo>
                      <a:pt x="588" y="986"/>
                    </a:lnTo>
                    <a:lnTo>
                      <a:pt x="584" y="988"/>
                    </a:lnTo>
                    <a:lnTo>
                      <a:pt x="584" y="988"/>
                    </a:lnTo>
                    <a:lnTo>
                      <a:pt x="566" y="1010"/>
                    </a:lnTo>
                    <a:lnTo>
                      <a:pt x="556" y="1024"/>
                    </a:lnTo>
                    <a:lnTo>
                      <a:pt x="554" y="1032"/>
                    </a:lnTo>
                    <a:lnTo>
                      <a:pt x="554" y="1036"/>
                    </a:lnTo>
                    <a:lnTo>
                      <a:pt x="554" y="1036"/>
                    </a:lnTo>
                    <a:lnTo>
                      <a:pt x="554" y="1044"/>
                    </a:lnTo>
                    <a:lnTo>
                      <a:pt x="552" y="1052"/>
                    </a:lnTo>
                    <a:lnTo>
                      <a:pt x="550" y="1054"/>
                    </a:lnTo>
                    <a:lnTo>
                      <a:pt x="546" y="1056"/>
                    </a:lnTo>
                    <a:lnTo>
                      <a:pt x="544" y="1056"/>
                    </a:lnTo>
                    <a:lnTo>
                      <a:pt x="540" y="1054"/>
                    </a:lnTo>
                    <a:lnTo>
                      <a:pt x="540" y="1054"/>
                    </a:lnTo>
                    <a:lnTo>
                      <a:pt x="536" y="1052"/>
                    </a:lnTo>
                    <a:lnTo>
                      <a:pt x="534" y="1046"/>
                    </a:lnTo>
                    <a:lnTo>
                      <a:pt x="530" y="1038"/>
                    </a:lnTo>
                    <a:lnTo>
                      <a:pt x="530" y="1034"/>
                    </a:lnTo>
                    <a:lnTo>
                      <a:pt x="528" y="1036"/>
                    </a:lnTo>
                    <a:lnTo>
                      <a:pt x="528" y="1048"/>
                    </a:lnTo>
                    <a:lnTo>
                      <a:pt x="528" y="1048"/>
                    </a:lnTo>
                    <a:lnTo>
                      <a:pt x="526" y="1068"/>
                    </a:lnTo>
                    <a:lnTo>
                      <a:pt x="522" y="1084"/>
                    </a:lnTo>
                    <a:lnTo>
                      <a:pt x="518" y="1098"/>
                    </a:lnTo>
                    <a:lnTo>
                      <a:pt x="512" y="1106"/>
                    </a:lnTo>
                    <a:lnTo>
                      <a:pt x="512" y="1106"/>
                    </a:lnTo>
                    <a:lnTo>
                      <a:pt x="508" y="1108"/>
                    </a:lnTo>
                    <a:lnTo>
                      <a:pt x="502" y="1108"/>
                    </a:lnTo>
                    <a:lnTo>
                      <a:pt x="494" y="1108"/>
                    </a:lnTo>
                    <a:lnTo>
                      <a:pt x="488" y="1110"/>
                    </a:lnTo>
                    <a:lnTo>
                      <a:pt x="484" y="1116"/>
                    </a:lnTo>
                    <a:lnTo>
                      <a:pt x="480" y="1126"/>
                    </a:lnTo>
                    <a:lnTo>
                      <a:pt x="476" y="1142"/>
                    </a:lnTo>
                    <a:lnTo>
                      <a:pt x="476" y="1142"/>
                    </a:lnTo>
                    <a:lnTo>
                      <a:pt x="476" y="1158"/>
                    </a:lnTo>
                    <a:lnTo>
                      <a:pt x="476" y="1170"/>
                    </a:lnTo>
                    <a:lnTo>
                      <a:pt x="480" y="1176"/>
                    </a:lnTo>
                    <a:lnTo>
                      <a:pt x="482" y="1182"/>
                    </a:lnTo>
                    <a:lnTo>
                      <a:pt x="486" y="1186"/>
                    </a:lnTo>
                    <a:lnTo>
                      <a:pt x="488" y="1190"/>
                    </a:lnTo>
                    <a:lnTo>
                      <a:pt x="488" y="1196"/>
                    </a:lnTo>
                    <a:lnTo>
                      <a:pt x="486" y="1206"/>
                    </a:lnTo>
                    <a:lnTo>
                      <a:pt x="486" y="1206"/>
                    </a:lnTo>
                    <a:lnTo>
                      <a:pt x="480" y="1216"/>
                    </a:lnTo>
                    <a:lnTo>
                      <a:pt x="476" y="1226"/>
                    </a:lnTo>
                    <a:lnTo>
                      <a:pt x="464" y="1242"/>
                    </a:lnTo>
                    <a:lnTo>
                      <a:pt x="454" y="1258"/>
                    </a:lnTo>
                    <a:lnTo>
                      <a:pt x="450" y="1266"/>
                    </a:lnTo>
                    <a:lnTo>
                      <a:pt x="448" y="1276"/>
                    </a:lnTo>
                    <a:lnTo>
                      <a:pt x="448" y="1276"/>
                    </a:lnTo>
                    <a:lnTo>
                      <a:pt x="444" y="1300"/>
                    </a:lnTo>
                    <a:lnTo>
                      <a:pt x="442" y="1330"/>
                    </a:lnTo>
                    <a:lnTo>
                      <a:pt x="442" y="1342"/>
                    </a:lnTo>
                    <a:lnTo>
                      <a:pt x="444" y="1354"/>
                    </a:lnTo>
                    <a:lnTo>
                      <a:pt x="448" y="1364"/>
                    </a:lnTo>
                    <a:lnTo>
                      <a:pt x="452" y="1370"/>
                    </a:lnTo>
                    <a:lnTo>
                      <a:pt x="452" y="1370"/>
                    </a:lnTo>
                    <a:lnTo>
                      <a:pt x="470" y="1378"/>
                    </a:lnTo>
                    <a:lnTo>
                      <a:pt x="490" y="1386"/>
                    </a:lnTo>
                    <a:lnTo>
                      <a:pt x="506" y="1394"/>
                    </a:lnTo>
                    <a:lnTo>
                      <a:pt x="512" y="1398"/>
                    </a:lnTo>
                    <a:lnTo>
                      <a:pt x="516" y="1402"/>
                    </a:lnTo>
                    <a:lnTo>
                      <a:pt x="516" y="1402"/>
                    </a:lnTo>
                    <a:lnTo>
                      <a:pt x="522" y="1426"/>
                    </a:lnTo>
                    <a:lnTo>
                      <a:pt x="534" y="1448"/>
                    </a:lnTo>
                    <a:lnTo>
                      <a:pt x="534" y="1448"/>
                    </a:lnTo>
                    <a:lnTo>
                      <a:pt x="538" y="1454"/>
                    </a:lnTo>
                    <a:lnTo>
                      <a:pt x="544" y="1458"/>
                    </a:lnTo>
                    <a:lnTo>
                      <a:pt x="556" y="1466"/>
                    </a:lnTo>
                    <a:lnTo>
                      <a:pt x="562" y="1470"/>
                    </a:lnTo>
                    <a:lnTo>
                      <a:pt x="568" y="1478"/>
                    </a:lnTo>
                    <a:lnTo>
                      <a:pt x="574" y="1486"/>
                    </a:lnTo>
                    <a:lnTo>
                      <a:pt x="576" y="1498"/>
                    </a:lnTo>
                    <a:lnTo>
                      <a:pt x="576" y="1498"/>
                    </a:lnTo>
                    <a:lnTo>
                      <a:pt x="580" y="1522"/>
                    </a:lnTo>
                    <a:lnTo>
                      <a:pt x="580" y="1540"/>
                    </a:lnTo>
                    <a:lnTo>
                      <a:pt x="578" y="1564"/>
                    </a:lnTo>
                    <a:lnTo>
                      <a:pt x="578" y="1564"/>
                    </a:lnTo>
                    <a:lnTo>
                      <a:pt x="578" y="1574"/>
                    </a:lnTo>
                    <a:lnTo>
                      <a:pt x="576" y="1590"/>
                    </a:lnTo>
                    <a:lnTo>
                      <a:pt x="570" y="1606"/>
                    </a:lnTo>
                    <a:lnTo>
                      <a:pt x="566" y="1612"/>
                    </a:lnTo>
                    <a:lnTo>
                      <a:pt x="562" y="1616"/>
                    </a:lnTo>
                    <a:lnTo>
                      <a:pt x="562" y="1616"/>
                    </a:lnTo>
                    <a:lnTo>
                      <a:pt x="548" y="1628"/>
                    </a:lnTo>
                    <a:lnTo>
                      <a:pt x="532" y="1646"/>
                    </a:lnTo>
                    <a:lnTo>
                      <a:pt x="512" y="1670"/>
                    </a:lnTo>
                    <a:lnTo>
                      <a:pt x="512" y="1670"/>
                    </a:lnTo>
                    <a:lnTo>
                      <a:pt x="506" y="1670"/>
                    </a:lnTo>
                    <a:lnTo>
                      <a:pt x="492" y="1672"/>
                    </a:lnTo>
                    <a:lnTo>
                      <a:pt x="476" y="1676"/>
                    </a:lnTo>
                    <a:lnTo>
                      <a:pt x="468" y="1680"/>
                    </a:lnTo>
                    <a:lnTo>
                      <a:pt x="462" y="1686"/>
                    </a:lnTo>
                    <a:lnTo>
                      <a:pt x="462" y="1686"/>
                    </a:lnTo>
                    <a:lnTo>
                      <a:pt x="442" y="1710"/>
                    </a:lnTo>
                    <a:lnTo>
                      <a:pt x="434" y="1722"/>
                    </a:lnTo>
                    <a:lnTo>
                      <a:pt x="428" y="1732"/>
                    </a:lnTo>
                    <a:lnTo>
                      <a:pt x="428" y="1732"/>
                    </a:lnTo>
                    <a:lnTo>
                      <a:pt x="420" y="1750"/>
                    </a:lnTo>
                    <a:lnTo>
                      <a:pt x="418" y="1758"/>
                    </a:lnTo>
                    <a:lnTo>
                      <a:pt x="418" y="1758"/>
                    </a:lnTo>
                    <a:lnTo>
                      <a:pt x="402" y="1832"/>
                    </a:lnTo>
                    <a:lnTo>
                      <a:pt x="402" y="1832"/>
                    </a:lnTo>
                    <a:lnTo>
                      <a:pt x="400" y="1848"/>
                    </a:lnTo>
                    <a:lnTo>
                      <a:pt x="400" y="1860"/>
                    </a:lnTo>
                    <a:lnTo>
                      <a:pt x="402" y="1876"/>
                    </a:lnTo>
                    <a:lnTo>
                      <a:pt x="402" y="1898"/>
                    </a:lnTo>
                    <a:lnTo>
                      <a:pt x="402" y="1898"/>
                    </a:lnTo>
                    <a:lnTo>
                      <a:pt x="398" y="1928"/>
                    </a:lnTo>
                    <a:lnTo>
                      <a:pt x="392" y="1952"/>
                    </a:lnTo>
                    <a:lnTo>
                      <a:pt x="384" y="1980"/>
                    </a:lnTo>
                    <a:lnTo>
                      <a:pt x="384" y="1980"/>
                    </a:lnTo>
                    <a:lnTo>
                      <a:pt x="382" y="1992"/>
                    </a:lnTo>
                    <a:lnTo>
                      <a:pt x="382" y="1994"/>
                    </a:lnTo>
                    <a:lnTo>
                      <a:pt x="382" y="1994"/>
                    </a:lnTo>
                    <a:lnTo>
                      <a:pt x="390" y="1988"/>
                    </a:lnTo>
                    <a:lnTo>
                      <a:pt x="390" y="1988"/>
                    </a:lnTo>
                    <a:lnTo>
                      <a:pt x="400" y="1978"/>
                    </a:lnTo>
                    <a:lnTo>
                      <a:pt x="406" y="1968"/>
                    </a:lnTo>
                    <a:lnTo>
                      <a:pt x="410" y="1964"/>
                    </a:lnTo>
                    <a:lnTo>
                      <a:pt x="410" y="1970"/>
                    </a:lnTo>
                    <a:lnTo>
                      <a:pt x="410" y="1970"/>
                    </a:lnTo>
                    <a:lnTo>
                      <a:pt x="408" y="1982"/>
                    </a:lnTo>
                    <a:lnTo>
                      <a:pt x="404" y="1994"/>
                    </a:lnTo>
                    <a:lnTo>
                      <a:pt x="394" y="2014"/>
                    </a:lnTo>
                    <a:lnTo>
                      <a:pt x="394" y="2014"/>
                    </a:lnTo>
                    <a:lnTo>
                      <a:pt x="392" y="2026"/>
                    </a:lnTo>
                    <a:lnTo>
                      <a:pt x="392" y="2040"/>
                    </a:lnTo>
                    <a:lnTo>
                      <a:pt x="394" y="2054"/>
                    </a:lnTo>
                    <a:lnTo>
                      <a:pt x="394" y="2054"/>
                    </a:lnTo>
                    <a:lnTo>
                      <a:pt x="386" y="2054"/>
                    </a:lnTo>
                    <a:lnTo>
                      <a:pt x="382" y="2054"/>
                    </a:lnTo>
                    <a:lnTo>
                      <a:pt x="378" y="2048"/>
                    </a:lnTo>
                    <a:lnTo>
                      <a:pt x="378" y="2048"/>
                    </a:lnTo>
                    <a:lnTo>
                      <a:pt x="374" y="2030"/>
                    </a:lnTo>
                    <a:lnTo>
                      <a:pt x="372" y="2026"/>
                    </a:lnTo>
                    <a:lnTo>
                      <a:pt x="370" y="2026"/>
                    </a:lnTo>
                    <a:lnTo>
                      <a:pt x="368" y="2030"/>
                    </a:lnTo>
                    <a:lnTo>
                      <a:pt x="366" y="2038"/>
                    </a:lnTo>
                    <a:lnTo>
                      <a:pt x="366" y="2038"/>
                    </a:lnTo>
                    <a:lnTo>
                      <a:pt x="364" y="2058"/>
                    </a:lnTo>
                    <a:lnTo>
                      <a:pt x="362" y="2074"/>
                    </a:lnTo>
                    <a:lnTo>
                      <a:pt x="362" y="2080"/>
                    </a:lnTo>
                    <a:lnTo>
                      <a:pt x="360" y="2084"/>
                    </a:lnTo>
                    <a:lnTo>
                      <a:pt x="358" y="2090"/>
                    </a:lnTo>
                    <a:lnTo>
                      <a:pt x="352" y="2094"/>
                    </a:lnTo>
                    <a:lnTo>
                      <a:pt x="352" y="2094"/>
                    </a:lnTo>
                    <a:lnTo>
                      <a:pt x="346" y="2096"/>
                    </a:lnTo>
                    <a:lnTo>
                      <a:pt x="338" y="2096"/>
                    </a:lnTo>
                    <a:lnTo>
                      <a:pt x="318" y="2094"/>
                    </a:lnTo>
                    <a:lnTo>
                      <a:pt x="296" y="2088"/>
                    </a:lnTo>
                    <a:lnTo>
                      <a:pt x="282" y="2088"/>
                    </a:lnTo>
                    <a:lnTo>
                      <a:pt x="268" y="2088"/>
                    </a:lnTo>
                    <a:lnTo>
                      <a:pt x="268" y="2088"/>
                    </a:lnTo>
                    <a:lnTo>
                      <a:pt x="240" y="2092"/>
                    </a:lnTo>
                    <a:lnTo>
                      <a:pt x="226" y="2094"/>
                    </a:lnTo>
                    <a:lnTo>
                      <a:pt x="214" y="2096"/>
                    </a:lnTo>
                    <a:lnTo>
                      <a:pt x="204" y="2100"/>
                    </a:lnTo>
                    <a:lnTo>
                      <a:pt x="198" y="2104"/>
                    </a:lnTo>
                    <a:lnTo>
                      <a:pt x="194" y="2112"/>
                    </a:lnTo>
                    <a:lnTo>
                      <a:pt x="196" y="2124"/>
                    </a:lnTo>
                    <a:lnTo>
                      <a:pt x="196" y="2124"/>
                    </a:lnTo>
                    <a:lnTo>
                      <a:pt x="200" y="2136"/>
                    </a:lnTo>
                    <a:lnTo>
                      <a:pt x="204" y="2146"/>
                    </a:lnTo>
                    <a:lnTo>
                      <a:pt x="214" y="2164"/>
                    </a:lnTo>
                    <a:lnTo>
                      <a:pt x="216" y="2170"/>
                    </a:lnTo>
                    <a:lnTo>
                      <a:pt x="216" y="2176"/>
                    </a:lnTo>
                    <a:lnTo>
                      <a:pt x="212" y="2180"/>
                    </a:lnTo>
                    <a:lnTo>
                      <a:pt x="202" y="2184"/>
                    </a:lnTo>
                    <a:lnTo>
                      <a:pt x="202" y="2184"/>
                    </a:lnTo>
                    <a:lnTo>
                      <a:pt x="192" y="2186"/>
                    </a:lnTo>
                    <a:lnTo>
                      <a:pt x="182" y="2186"/>
                    </a:lnTo>
                    <a:lnTo>
                      <a:pt x="168" y="2184"/>
                    </a:lnTo>
                    <a:lnTo>
                      <a:pt x="162" y="2184"/>
                    </a:lnTo>
                    <a:lnTo>
                      <a:pt x="154" y="2184"/>
                    </a:lnTo>
                    <a:lnTo>
                      <a:pt x="144" y="2188"/>
                    </a:lnTo>
                    <a:lnTo>
                      <a:pt x="132" y="2194"/>
                    </a:lnTo>
                    <a:lnTo>
                      <a:pt x="132" y="2194"/>
                    </a:lnTo>
                    <a:lnTo>
                      <a:pt x="110" y="2208"/>
                    </a:lnTo>
                    <a:lnTo>
                      <a:pt x="94" y="2216"/>
                    </a:lnTo>
                    <a:lnTo>
                      <a:pt x="90" y="2218"/>
                    </a:lnTo>
                    <a:lnTo>
                      <a:pt x="86" y="2214"/>
                    </a:lnTo>
                    <a:lnTo>
                      <a:pt x="84" y="2210"/>
                    </a:lnTo>
                    <a:lnTo>
                      <a:pt x="86" y="2200"/>
                    </a:lnTo>
                    <a:lnTo>
                      <a:pt x="86" y="2200"/>
                    </a:lnTo>
                    <a:lnTo>
                      <a:pt x="88" y="2170"/>
                    </a:lnTo>
                    <a:lnTo>
                      <a:pt x="88" y="2138"/>
                    </a:lnTo>
                    <a:lnTo>
                      <a:pt x="88" y="2138"/>
                    </a:lnTo>
                    <a:lnTo>
                      <a:pt x="86" y="2126"/>
                    </a:lnTo>
                    <a:lnTo>
                      <a:pt x="84" y="2112"/>
                    </a:lnTo>
                    <a:lnTo>
                      <a:pt x="78" y="2086"/>
                    </a:lnTo>
                    <a:lnTo>
                      <a:pt x="76" y="2074"/>
                    </a:lnTo>
                    <a:lnTo>
                      <a:pt x="74" y="2064"/>
                    </a:lnTo>
                    <a:lnTo>
                      <a:pt x="76" y="2054"/>
                    </a:lnTo>
                    <a:lnTo>
                      <a:pt x="80" y="2046"/>
                    </a:lnTo>
                    <a:lnTo>
                      <a:pt x="80" y="2046"/>
                    </a:lnTo>
                    <a:lnTo>
                      <a:pt x="90" y="2036"/>
                    </a:lnTo>
                    <a:lnTo>
                      <a:pt x="96" y="2026"/>
                    </a:lnTo>
                    <a:lnTo>
                      <a:pt x="96" y="2020"/>
                    </a:lnTo>
                    <a:lnTo>
                      <a:pt x="96" y="2014"/>
                    </a:lnTo>
                    <a:lnTo>
                      <a:pt x="90" y="1998"/>
                    </a:lnTo>
                    <a:lnTo>
                      <a:pt x="90" y="1998"/>
                    </a:lnTo>
                    <a:lnTo>
                      <a:pt x="86" y="1990"/>
                    </a:lnTo>
                    <a:lnTo>
                      <a:pt x="82" y="1986"/>
                    </a:lnTo>
                    <a:lnTo>
                      <a:pt x="74" y="1980"/>
                    </a:lnTo>
                    <a:lnTo>
                      <a:pt x="70" y="1974"/>
                    </a:lnTo>
                    <a:lnTo>
                      <a:pt x="66" y="1964"/>
                    </a:lnTo>
                    <a:lnTo>
                      <a:pt x="60" y="1948"/>
                    </a:lnTo>
                    <a:lnTo>
                      <a:pt x="54" y="1926"/>
                    </a:lnTo>
                    <a:lnTo>
                      <a:pt x="54" y="1926"/>
                    </a:lnTo>
                    <a:lnTo>
                      <a:pt x="34" y="1842"/>
                    </a:lnTo>
                    <a:lnTo>
                      <a:pt x="28" y="1818"/>
                    </a:lnTo>
                    <a:lnTo>
                      <a:pt x="26" y="1806"/>
                    </a:lnTo>
                    <a:lnTo>
                      <a:pt x="26" y="1806"/>
                    </a:lnTo>
                    <a:lnTo>
                      <a:pt x="26" y="1798"/>
                    </a:lnTo>
                    <a:lnTo>
                      <a:pt x="30" y="1788"/>
                    </a:lnTo>
                    <a:lnTo>
                      <a:pt x="32" y="1774"/>
                    </a:lnTo>
                    <a:lnTo>
                      <a:pt x="36" y="1760"/>
                    </a:lnTo>
                    <a:lnTo>
                      <a:pt x="36" y="1760"/>
                    </a:lnTo>
                    <a:lnTo>
                      <a:pt x="36" y="1742"/>
                    </a:lnTo>
                    <a:lnTo>
                      <a:pt x="36" y="1726"/>
                    </a:lnTo>
                    <a:lnTo>
                      <a:pt x="32" y="1712"/>
                    </a:lnTo>
                    <a:lnTo>
                      <a:pt x="30" y="1708"/>
                    </a:lnTo>
                    <a:lnTo>
                      <a:pt x="26" y="1702"/>
                    </a:lnTo>
                    <a:lnTo>
                      <a:pt x="26" y="1702"/>
                    </a:lnTo>
                    <a:lnTo>
                      <a:pt x="24" y="1702"/>
                    </a:lnTo>
                    <a:lnTo>
                      <a:pt x="22" y="1702"/>
                    </a:lnTo>
                    <a:lnTo>
                      <a:pt x="16" y="1704"/>
                    </a:lnTo>
                    <a:lnTo>
                      <a:pt x="6" y="1716"/>
                    </a:lnTo>
                    <a:lnTo>
                      <a:pt x="4" y="1718"/>
                    </a:lnTo>
                    <a:lnTo>
                      <a:pt x="2" y="1718"/>
                    </a:lnTo>
                    <a:lnTo>
                      <a:pt x="0" y="1716"/>
                    </a:lnTo>
                    <a:lnTo>
                      <a:pt x="0" y="1708"/>
                    </a:lnTo>
                    <a:lnTo>
                      <a:pt x="0" y="1690"/>
                    </a:lnTo>
                    <a:lnTo>
                      <a:pt x="0" y="1690"/>
                    </a:lnTo>
                    <a:lnTo>
                      <a:pt x="2" y="1670"/>
                    </a:lnTo>
                    <a:lnTo>
                      <a:pt x="6" y="1654"/>
                    </a:lnTo>
                    <a:lnTo>
                      <a:pt x="12" y="1642"/>
                    </a:lnTo>
                    <a:lnTo>
                      <a:pt x="18" y="1632"/>
                    </a:lnTo>
                    <a:lnTo>
                      <a:pt x="28" y="1620"/>
                    </a:lnTo>
                    <a:lnTo>
                      <a:pt x="36" y="1614"/>
                    </a:lnTo>
                    <a:lnTo>
                      <a:pt x="36" y="1614"/>
                    </a:lnTo>
                    <a:lnTo>
                      <a:pt x="36" y="1610"/>
                    </a:lnTo>
                    <a:lnTo>
                      <a:pt x="36" y="1604"/>
                    </a:lnTo>
                    <a:lnTo>
                      <a:pt x="36" y="1596"/>
                    </a:lnTo>
                    <a:lnTo>
                      <a:pt x="38" y="1584"/>
                    </a:lnTo>
                    <a:lnTo>
                      <a:pt x="38" y="1584"/>
                    </a:lnTo>
                    <a:lnTo>
                      <a:pt x="40" y="1578"/>
                    </a:lnTo>
                    <a:lnTo>
                      <a:pt x="40" y="1574"/>
                    </a:lnTo>
                    <a:lnTo>
                      <a:pt x="38" y="1564"/>
                    </a:lnTo>
                    <a:lnTo>
                      <a:pt x="36" y="1552"/>
                    </a:lnTo>
                    <a:lnTo>
                      <a:pt x="36" y="1542"/>
                    </a:lnTo>
                    <a:lnTo>
                      <a:pt x="40" y="1528"/>
                    </a:lnTo>
                    <a:lnTo>
                      <a:pt x="40" y="1528"/>
                    </a:lnTo>
                    <a:lnTo>
                      <a:pt x="42" y="1516"/>
                    </a:lnTo>
                    <a:lnTo>
                      <a:pt x="46" y="1504"/>
                    </a:lnTo>
                    <a:lnTo>
                      <a:pt x="52" y="1494"/>
                    </a:lnTo>
                    <a:lnTo>
                      <a:pt x="56" y="1486"/>
                    </a:lnTo>
                    <a:lnTo>
                      <a:pt x="62" y="1480"/>
                    </a:lnTo>
                    <a:lnTo>
                      <a:pt x="70" y="1476"/>
                    </a:lnTo>
                    <a:lnTo>
                      <a:pt x="84" y="1468"/>
                    </a:lnTo>
                    <a:lnTo>
                      <a:pt x="84" y="1468"/>
                    </a:lnTo>
                    <a:lnTo>
                      <a:pt x="100" y="1458"/>
                    </a:lnTo>
                    <a:lnTo>
                      <a:pt x="112" y="1446"/>
                    </a:lnTo>
                    <a:lnTo>
                      <a:pt x="120" y="1428"/>
                    </a:lnTo>
                    <a:lnTo>
                      <a:pt x="126" y="1410"/>
                    </a:lnTo>
                    <a:lnTo>
                      <a:pt x="126" y="1410"/>
                    </a:lnTo>
                    <a:lnTo>
                      <a:pt x="126" y="1398"/>
                    </a:lnTo>
                    <a:lnTo>
                      <a:pt x="126" y="1386"/>
                    </a:lnTo>
                    <a:lnTo>
                      <a:pt x="122" y="1356"/>
                    </a:lnTo>
                    <a:lnTo>
                      <a:pt x="122" y="1340"/>
                    </a:lnTo>
                    <a:lnTo>
                      <a:pt x="122" y="1322"/>
                    </a:lnTo>
                    <a:lnTo>
                      <a:pt x="124" y="1304"/>
                    </a:lnTo>
                    <a:lnTo>
                      <a:pt x="128" y="1284"/>
                    </a:lnTo>
                    <a:lnTo>
                      <a:pt x="128" y="1284"/>
                    </a:lnTo>
                    <a:lnTo>
                      <a:pt x="138" y="1250"/>
                    </a:lnTo>
                    <a:lnTo>
                      <a:pt x="144" y="1224"/>
                    </a:lnTo>
                    <a:lnTo>
                      <a:pt x="146" y="1202"/>
                    </a:lnTo>
                    <a:lnTo>
                      <a:pt x="144" y="1176"/>
                    </a:lnTo>
                    <a:lnTo>
                      <a:pt x="144" y="1176"/>
                    </a:lnTo>
                    <a:lnTo>
                      <a:pt x="138" y="1144"/>
                    </a:lnTo>
                    <a:lnTo>
                      <a:pt x="132" y="1102"/>
                    </a:lnTo>
                    <a:lnTo>
                      <a:pt x="130" y="1080"/>
                    </a:lnTo>
                    <a:lnTo>
                      <a:pt x="130" y="1058"/>
                    </a:lnTo>
                    <a:lnTo>
                      <a:pt x="132" y="1036"/>
                    </a:lnTo>
                    <a:lnTo>
                      <a:pt x="138" y="1016"/>
                    </a:lnTo>
                    <a:lnTo>
                      <a:pt x="138" y="1016"/>
                    </a:lnTo>
                    <a:lnTo>
                      <a:pt x="160" y="962"/>
                    </a:lnTo>
                    <a:lnTo>
                      <a:pt x="164" y="950"/>
                    </a:lnTo>
                    <a:lnTo>
                      <a:pt x="164" y="946"/>
                    </a:lnTo>
                    <a:lnTo>
                      <a:pt x="162" y="944"/>
                    </a:lnTo>
                    <a:lnTo>
                      <a:pt x="162" y="944"/>
                    </a:lnTo>
                    <a:lnTo>
                      <a:pt x="160" y="942"/>
                    </a:lnTo>
                    <a:lnTo>
                      <a:pt x="154" y="942"/>
                    </a:lnTo>
                    <a:lnTo>
                      <a:pt x="144" y="944"/>
                    </a:lnTo>
                    <a:lnTo>
                      <a:pt x="142" y="942"/>
                    </a:lnTo>
                    <a:lnTo>
                      <a:pt x="142" y="936"/>
                    </a:lnTo>
                    <a:lnTo>
                      <a:pt x="146" y="926"/>
                    </a:lnTo>
                    <a:lnTo>
                      <a:pt x="158" y="910"/>
                    </a:lnTo>
                    <a:lnTo>
                      <a:pt x="158" y="910"/>
                    </a:lnTo>
                    <a:lnTo>
                      <a:pt x="206" y="840"/>
                    </a:lnTo>
                    <a:lnTo>
                      <a:pt x="226" y="812"/>
                    </a:lnTo>
                    <a:lnTo>
                      <a:pt x="226" y="812"/>
                    </a:lnTo>
                    <a:lnTo>
                      <a:pt x="242" y="814"/>
                    </a:lnTo>
                    <a:lnTo>
                      <a:pt x="272" y="818"/>
                    </a:lnTo>
                    <a:lnTo>
                      <a:pt x="272" y="818"/>
                    </a:lnTo>
                    <a:lnTo>
                      <a:pt x="280" y="818"/>
                    </a:lnTo>
                    <a:lnTo>
                      <a:pt x="290" y="818"/>
                    </a:lnTo>
                    <a:lnTo>
                      <a:pt x="298" y="814"/>
                    </a:lnTo>
                    <a:lnTo>
                      <a:pt x="308" y="810"/>
                    </a:lnTo>
                    <a:lnTo>
                      <a:pt x="314" y="804"/>
                    </a:lnTo>
                    <a:lnTo>
                      <a:pt x="318" y="796"/>
                    </a:lnTo>
                    <a:lnTo>
                      <a:pt x="320" y="786"/>
                    </a:lnTo>
                    <a:lnTo>
                      <a:pt x="316" y="776"/>
                    </a:lnTo>
                    <a:lnTo>
                      <a:pt x="316" y="776"/>
                    </a:lnTo>
                    <a:lnTo>
                      <a:pt x="304" y="754"/>
                    </a:lnTo>
                    <a:lnTo>
                      <a:pt x="292" y="740"/>
                    </a:lnTo>
                    <a:lnTo>
                      <a:pt x="280" y="730"/>
                    </a:lnTo>
                    <a:lnTo>
                      <a:pt x="370" y="610"/>
                    </a:lnTo>
                    <a:lnTo>
                      <a:pt x="370" y="610"/>
                    </a:lnTo>
                    <a:lnTo>
                      <a:pt x="370" y="588"/>
                    </a:lnTo>
                    <a:lnTo>
                      <a:pt x="370" y="568"/>
                    </a:lnTo>
                    <a:lnTo>
                      <a:pt x="368" y="550"/>
                    </a:lnTo>
                    <a:lnTo>
                      <a:pt x="368" y="550"/>
                    </a:lnTo>
                    <a:lnTo>
                      <a:pt x="366" y="534"/>
                    </a:lnTo>
                    <a:lnTo>
                      <a:pt x="368" y="514"/>
                    </a:lnTo>
                    <a:lnTo>
                      <a:pt x="370" y="504"/>
                    </a:lnTo>
                    <a:lnTo>
                      <a:pt x="372" y="496"/>
                    </a:lnTo>
                    <a:lnTo>
                      <a:pt x="378" y="488"/>
                    </a:lnTo>
                    <a:lnTo>
                      <a:pt x="384" y="486"/>
                    </a:lnTo>
                    <a:lnTo>
                      <a:pt x="384" y="486"/>
                    </a:lnTo>
                    <a:lnTo>
                      <a:pt x="390" y="484"/>
                    </a:lnTo>
                    <a:lnTo>
                      <a:pt x="396" y="484"/>
                    </a:lnTo>
                    <a:lnTo>
                      <a:pt x="404" y="486"/>
                    </a:lnTo>
                    <a:lnTo>
                      <a:pt x="408" y="488"/>
                    </a:lnTo>
                    <a:lnTo>
                      <a:pt x="414" y="488"/>
                    </a:lnTo>
                    <a:lnTo>
                      <a:pt x="418" y="486"/>
                    </a:lnTo>
                    <a:lnTo>
                      <a:pt x="424" y="480"/>
                    </a:lnTo>
                    <a:lnTo>
                      <a:pt x="424" y="480"/>
                    </a:lnTo>
                    <a:lnTo>
                      <a:pt x="430" y="474"/>
                    </a:lnTo>
                    <a:lnTo>
                      <a:pt x="434" y="468"/>
                    </a:lnTo>
                    <a:lnTo>
                      <a:pt x="442" y="452"/>
                    </a:lnTo>
                    <a:lnTo>
                      <a:pt x="448" y="436"/>
                    </a:lnTo>
                    <a:lnTo>
                      <a:pt x="460" y="416"/>
                    </a:lnTo>
                    <a:lnTo>
                      <a:pt x="460" y="416"/>
                    </a:lnTo>
                    <a:lnTo>
                      <a:pt x="468" y="406"/>
                    </a:lnTo>
                    <a:lnTo>
                      <a:pt x="474" y="398"/>
                    </a:lnTo>
                    <a:lnTo>
                      <a:pt x="486" y="388"/>
                    </a:lnTo>
                    <a:lnTo>
                      <a:pt x="496" y="382"/>
                    </a:lnTo>
                    <a:lnTo>
                      <a:pt x="498" y="378"/>
                    </a:lnTo>
                    <a:lnTo>
                      <a:pt x="500" y="376"/>
                    </a:lnTo>
                    <a:lnTo>
                      <a:pt x="500" y="376"/>
                    </a:lnTo>
                    <a:lnTo>
                      <a:pt x="500" y="372"/>
                    </a:lnTo>
                    <a:lnTo>
                      <a:pt x="498" y="370"/>
                    </a:lnTo>
                    <a:lnTo>
                      <a:pt x="492" y="364"/>
                    </a:lnTo>
                    <a:lnTo>
                      <a:pt x="490" y="358"/>
                    </a:lnTo>
                    <a:lnTo>
                      <a:pt x="488" y="354"/>
                    </a:lnTo>
                    <a:lnTo>
                      <a:pt x="486" y="346"/>
                    </a:lnTo>
                    <a:lnTo>
                      <a:pt x="488" y="338"/>
                    </a:lnTo>
                    <a:lnTo>
                      <a:pt x="488" y="338"/>
                    </a:lnTo>
                    <a:lnTo>
                      <a:pt x="492" y="326"/>
                    </a:lnTo>
                    <a:lnTo>
                      <a:pt x="504" y="308"/>
                    </a:lnTo>
                    <a:lnTo>
                      <a:pt x="534" y="268"/>
                    </a:lnTo>
                    <a:lnTo>
                      <a:pt x="578" y="214"/>
                    </a:lnTo>
                    <a:lnTo>
                      <a:pt x="578" y="214"/>
                    </a:lnTo>
                    <a:lnTo>
                      <a:pt x="580" y="218"/>
                    </a:lnTo>
                    <a:lnTo>
                      <a:pt x="586" y="224"/>
                    </a:lnTo>
                    <a:lnTo>
                      <a:pt x="590" y="226"/>
                    </a:lnTo>
                    <a:lnTo>
                      <a:pt x="594" y="224"/>
                    </a:lnTo>
                    <a:lnTo>
                      <a:pt x="598" y="220"/>
                    </a:lnTo>
                    <a:lnTo>
                      <a:pt x="602" y="212"/>
                    </a:lnTo>
                    <a:lnTo>
                      <a:pt x="602" y="212"/>
                    </a:lnTo>
                    <a:lnTo>
                      <a:pt x="604" y="204"/>
                    </a:lnTo>
                    <a:lnTo>
                      <a:pt x="602" y="194"/>
                    </a:lnTo>
                    <a:lnTo>
                      <a:pt x="598" y="182"/>
                    </a:lnTo>
                    <a:lnTo>
                      <a:pt x="596" y="176"/>
                    </a:lnTo>
                    <a:lnTo>
                      <a:pt x="596" y="172"/>
                    </a:lnTo>
                    <a:lnTo>
                      <a:pt x="600" y="168"/>
                    </a:lnTo>
                    <a:lnTo>
                      <a:pt x="610" y="164"/>
                    </a:lnTo>
                    <a:lnTo>
                      <a:pt x="610" y="164"/>
                    </a:lnTo>
                    <a:lnTo>
                      <a:pt x="626" y="160"/>
                    </a:lnTo>
                    <a:lnTo>
                      <a:pt x="638" y="160"/>
                    </a:lnTo>
                    <a:lnTo>
                      <a:pt x="650" y="160"/>
                    </a:lnTo>
                    <a:lnTo>
                      <a:pt x="676" y="160"/>
                    </a:lnTo>
                    <a:lnTo>
                      <a:pt x="676" y="160"/>
                    </a:lnTo>
                    <a:lnTo>
                      <a:pt x="708" y="156"/>
                    </a:lnTo>
                    <a:lnTo>
                      <a:pt x="734" y="150"/>
                    </a:lnTo>
                    <a:lnTo>
                      <a:pt x="744" y="146"/>
                    </a:lnTo>
                    <a:lnTo>
                      <a:pt x="752" y="144"/>
                    </a:lnTo>
                    <a:lnTo>
                      <a:pt x="758" y="138"/>
                    </a:lnTo>
                    <a:lnTo>
                      <a:pt x="758" y="134"/>
                    </a:lnTo>
                    <a:lnTo>
                      <a:pt x="758" y="134"/>
                    </a:lnTo>
                    <a:lnTo>
                      <a:pt x="758" y="132"/>
                    </a:lnTo>
                    <a:lnTo>
                      <a:pt x="756" y="130"/>
                    </a:lnTo>
                    <a:lnTo>
                      <a:pt x="748" y="126"/>
                    </a:lnTo>
                    <a:lnTo>
                      <a:pt x="732" y="122"/>
                    </a:lnTo>
                    <a:lnTo>
                      <a:pt x="724" y="118"/>
                    </a:lnTo>
                    <a:lnTo>
                      <a:pt x="722" y="114"/>
                    </a:lnTo>
                    <a:lnTo>
                      <a:pt x="722" y="112"/>
                    </a:lnTo>
                    <a:lnTo>
                      <a:pt x="722" y="106"/>
                    </a:lnTo>
                    <a:lnTo>
                      <a:pt x="724" y="102"/>
                    </a:lnTo>
                    <a:lnTo>
                      <a:pt x="734" y="88"/>
                    </a:lnTo>
                    <a:lnTo>
                      <a:pt x="734" y="88"/>
                    </a:lnTo>
                    <a:lnTo>
                      <a:pt x="746" y="70"/>
                    </a:lnTo>
                    <a:lnTo>
                      <a:pt x="758" y="50"/>
                    </a:lnTo>
                    <a:lnTo>
                      <a:pt x="770" y="30"/>
                    </a:lnTo>
                    <a:lnTo>
                      <a:pt x="780" y="14"/>
                    </a:lnTo>
                    <a:lnTo>
                      <a:pt x="790" y="4"/>
                    </a:lnTo>
                    <a:lnTo>
                      <a:pt x="796" y="0"/>
                    </a:lnTo>
                    <a:lnTo>
                      <a:pt x="800" y="0"/>
                    </a:lnTo>
                    <a:lnTo>
                      <a:pt x="804" y="2"/>
                    </a:lnTo>
                    <a:lnTo>
                      <a:pt x="810" y="8"/>
                    </a:lnTo>
                    <a:lnTo>
                      <a:pt x="814" y="16"/>
                    </a:lnTo>
                    <a:lnTo>
                      <a:pt x="818" y="30"/>
                    </a:lnTo>
                    <a:lnTo>
                      <a:pt x="818" y="30"/>
                    </a:lnTo>
                    <a:lnTo>
                      <a:pt x="832" y="76"/>
                    </a:lnTo>
                    <a:lnTo>
                      <a:pt x="840" y="108"/>
                    </a:lnTo>
                    <a:lnTo>
                      <a:pt x="846" y="130"/>
                    </a:lnTo>
                    <a:lnTo>
                      <a:pt x="846" y="130"/>
                    </a:lnTo>
                    <a:lnTo>
                      <a:pt x="850" y="146"/>
                    </a:lnTo>
                    <a:lnTo>
                      <a:pt x="860" y="176"/>
                    </a:lnTo>
                    <a:lnTo>
                      <a:pt x="860" y="176"/>
                    </a:lnTo>
                    <a:lnTo>
                      <a:pt x="868" y="196"/>
                    </a:lnTo>
                    <a:lnTo>
                      <a:pt x="878" y="220"/>
                    </a:lnTo>
                    <a:lnTo>
                      <a:pt x="890" y="248"/>
                    </a:lnTo>
                    <a:lnTo>
                      <a:pt x="890" y="248"/>
                    </a:lnTo>
                    <a:lnTo>
                      <a:pt x="894" y="268"/>
                    </a:lnTo>
                    <a:lnTo>
                      <a:pt x="896" y="286"/>
                    </a:lnTo>
                    <a:lnTo>
                      <a:pt x="896" y="302"/>
                    </a:lnTo>
                    <a:lnTo>
                      <a:pt x="896" y="302"/>
                    </a:lnTo>
                    <a:lnTo>
                      <a:pt x="898" y="320"/>
                    </a:lnTo>
                    <a:lnTo>
                      <a:pt x="902" y="346"/>
                    </a:lnTo>
                    <a:lnTo>
                      <a:pt x="908" y="372"/>
                    </a:lnTo>
                    <a:lnTo>
                      <a:pt x="910" y="388"/>
                    </a:lnTo>
                    <a:lnTo>
                      <a:pt x="910" y="388"/>
                    </a:lnTo>
                    <a:lnTo>
                      <a:pt x="910" y="420"/>
                    </a:lnTo>
                    <a:lnTo>
                      <a:pt x="910" y="442"/>
                    </a:lnTo>
                    <a:lnTo>
                      <a:pt x="908" y="462"/>
                    </a:lnTo>
                    <a:lnTo>
                      <a:pt x="908" y="462"/>
                    </a:lnTo>
                    <a:lnTo>
                      <a:pt x="904" y="480"/>
                    </a:lnTo>
                    <a:lnTo>
                      <a:pt x="904" y="502"/>
                    </a:lnTo>
                    <a:lnTo>
                      <a:pt x="904" y="522"/>
                    </a:lnTo>
                    <a:lnTo>
                      <a:pt x="906" y="540"/>
                    </a:lnTo>
                    <a:lnTo>
                      <a:pt x="906" y="540"/>
                    </a:lnTo>
                    <a:lnTo>
                      <a:pt x="910" y="552"/>
                    </a:lnTo>
                    <a:lnTo>
                      <a:pt x="914" y="564"/>
                    </a:lnTo>
                    <a:lnTo>
                      <a:pt x="916" y="570"/>
                    </a:lnTo>
                    <a:lnTo>
                      <a:pt x="916" y="576"/>
                    </a:lnTo>
                    <a:lnTo>
                      <a:pt x="914" y="584"/>
                    </a:lnTo>
                    <a:lnTo>
                      <a:pt x="912" y="592"/>
                    </a:lnTo>
                    <a:lnTo>
                      <a:pt x="912" y="592"/>
                    </a:lnTo>
                    <a:close/>
                  </a:path>
                </a:pathLst>
              </a:custGeom>
              <a:solidFill>
                <a:schemeClr val="tx2"/>
              </a:solidFill>
              <a:ln w="6350" cap="rnd" cmpd="sng">
                <a:no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34">
                <a:extLst>
                  <a:ext uri="{FF2B5EF4-FFF2-40B4-BE49-F238E27FC236}">
                    <a16:creationId xmlns:a16="http://schemas.microsoft.com/office/drawing/2014/main" id="{E8E510CC-D6AA-CA45-8B34-576047CD592F}"/>
                  </a:ext>
                </a:extLst>
              </p:cNvPr>
              <p:cNvSpPr>
                <a:spLocks/>
              </p:cNvSpPr>
              <p:nvPr/>
            </p:nvSpPr>
            <p:spPr bwMode="auto">
              <a:xfrm>
                <a:off x="3737327" y="1686351"/>
                <a:ext cx="1377209" cy="1574879"/>
              </a:xfrm>
              <a:custGeom>
                <a:avLst/>
                <a:gdLst/>
                <a:ahLst/>
                <a:cxnLst>
                  <a:cxn ang="0">
                    <a:pos x="398" y="1772"/>
                  </a:cxn>
                  <a:cxn ang="0">
                    <a:pos x="248" y="1882"/>
                  </a:cxn>
                  <a:cxn ang="0">
                    <a:pos x="66" y="1898"/>
                  </a:cxn>
                  <a:cxn ang="0">
                    <a:pos x="12" y="1776"/>
                  </a:cxn>
                  <a:cxn ang="0">
                    <a:pos x="32" y="1718"/>
                  </a:cxn>
                  <a:cxn ang="0">
                    <a:pos x="18" y="1704"/>
                  </a:cxn>
                  <a:cxn ang="0">
                    <a:pos x="4" y="1668"/>
                  </a:cxn>
                  <a:cxn ang="0">
                    <a:pos x="14" y="1570"/>
                  </a:cxn>
                  <a:cxn ang="0">
                    <a:pos x="40" y="1518"/>
                  </a:cxn>
                  <a:cxn ang="0">
                    <a:pos x="72" y="1460"/>
                  </a:cxn>
                  <a:cxn ang="0">
                    <a:pos x="42" y="1398"/>
                  </a:cxn>
                  <a:cxn ang="0">
                    <a:pos x="98" y="1322"/>
                  </a:cxn>
                  <a:cxn ang="0">
                    <a:pos x="118" y="1234"/>
                  </a:cxn>
                  <a:cxn ang="0">
                    <a:pos x="220" y="1184"/>
                  </a:cxn>
                  <a:cxn ang="0">
                    <a:pos x="304" y="1176"/>
                  </a:cxn>
                  <a:cxn ang="0">
                    <a:pos x="390" y="1080"/>
                  </a:cxn>
                  <a:cxn ang="0">
                    <a:pos x="444" y="1110"/>
                  </a:cxn>
                  <a:cxn ang="0">
                    <a:pos x="470" y="1030"/>
                  </a:cxn>
                  <a:cxn ang="0">
                    <a:pos x="580" y="942"/>
                  </a:cxn>
                  <a:cxn ang="0">
                    <a:pos x="682" y="872"/>
                  </a:cxn>
                  <a:cxn ang="0">
                    <a:pos x="712" y="770"/>
                  </a:cxn>
                  <a:cxn ang="0">
                    <a:pos x="764" y="718"/>
                  </a:cxn>
                  <a:cxn ang="0">
                    <a:pos x="750" y="648"/>
                  </a:cxn>
                  <a:cxn ang="0">
                    <a:pos x="884" y="602"/>
                  </a:cxn>
                  <a:cxn ang="0">
                    <a:pos x="882" y="512"/>
                  </a:cxn>
                  <a:cxn ang="0">
                    <a:pos x="882" y="478"/>
                  </a:cxn>
                  <a:cxn ang="0">
                    <a:pos x="928" y="406"/>
                  </a:cxn>
                  <a:cxn ang="0">
                    <a:pos x="820" y="412"/>
                  </a:cxn>
                  <a:cxn ang="0">
                    <a:pos x="874" y="352"/>
                  </a:cxn>
                  <a:cxn ang="0">
                    <a:pos x="930" y="276"/>
                  </a:cxn>
                  <a:cxn ang="0">
                    <a:pos x="1044" y="318"/>
                  </a:cxn>
                  <a:cxn ang="0">
                    <a:pos x="1008" y="244"/>
                  </a:cxn>
                  <a:cxn ang="0">
                    <a:pos x="1080" y="268"/>
                  </a:cxn>
                  <a:cxn ang="0">
                    <a:pos x="1160" y="184"/>
                  </a:cxn>
                  <a:cxn ang="0">
                    <a:pos x="1164" y="256"/>
                  </a:cxn>
                  <a:cxn ang="0">
                    <a:pos x="1234" y="180"/>
                  </a:cxn>
                  <a:cxn ang="0">
                    <a:pos x="1242" y="170"/>
                  </a:cxn>
                  <a:cxn ang="0">
                    <a:pos x="1292" y="156"/>
                  </a:cxn>
                  <a:cxn ang="0">
                    <a:pos x="1310" y="156"/>
                  </a:cxn>
                  <a:cxn ang="0">
                    <a:pos x="1368" y="66"/>
                  </a:cxn>
                  <a:cxn ang="0">
                    <a:pos x="1402" y="108"/>
                  </a:cxn>
                  <a:cxn ang="0">
                    <a:pos x="1428" y="158"/>
                  </a:cxn>
                  <a:cxn ang="0">
                    <a:pos x="1496" y="50"/>
                  </a:cxn>
                  <a:cxn ang="0">
                    <a:pos x="1520" y="6"/>
                  </a:cxn>
                  <a:cxn ang="0">
                    <a:pos x="1534" y="86"/>
                  </a:cxn>
                  <a:cxn ang="0">
                    <a:pos x="1578" y="78"/>
                  </a:cxn>
                  <a:cxn ang="0">
                    <a:pos x="1654" y="72"/>
                  </a:cxn>
                  <a:cxn ang="0">
                    <a:pos x="1604" y="152"/>
                  </a:cxn>
                  <a:cxn ang="0">
                    <a:pos x="1548" y="164"/>
                  </a:cxn>
                  <a:cxn ang="0">
                    <a:pos x="1434" y="286"/>
                  </a:cxn>
                  <a:cxn ang="0">
                    <a:pos x="1350" y="378"/>
                  </a:cxn>
                  <a:cxn ang="0">
                    <a:pos x="1238" y="260"/>
                  </a:cxn>
                  <a:cxn ang="0">
                    <a:pos x="1148" y="362"/>
                  </a:cxn>
                  <a:cxn ang="0">
                    <a:pos x="1092" y="410"/>
                  </a:cxn>
                  <a:cxn ang="0">
                    <a:pos x="1028" y="466"/>
                  </a:cxn>
                  <a:cxn ang="0">
                    <a:pos x="918" y="608"/>
                  </a:cxn>
                  <a:cxn ang="0">
                    <a:pos x="866" y="704"/>
                  </a:cxn>
                  <a:cxn ang="0">
                    <a:pos x="794" y="770"/>
                  </a:cxn>
                  <a:cxn ang="0">
                    <a:pos x="748" y="1034"/>
                  </a:cxn>
                  <a:cxn ang="0">
                    <a:pos x="568" y="1190"/>
                  </a:cxn>
                  <a:cxn ang="0">
                    <a:pos x="570" y="1418"/>
                  </a:cxn>
                  <a:cxn ang="0">
                    <a:pos x="558" y="1656"/>
                  </a:cxn>
                  <a:cxn ang="0">
                    <a:pos x="470" y="1760"/>
                  </a:cxn>
                </a:cxnLst>
                <a:rect l="0" t="0" r="r" b="b"/>
                <a:pathLst>
                  <a:path w="1700" h="1944">
                    <a:moveTo>
                      <a:pt x="454" y="1854"/>
                    </a:moveTo>
                    <a:lnTo>
                      <a:pt x="454" y="1854"/>
                    </a:lnTo>
                    <a:lnTo>
                      <a:pt x="444" y="1848"/>
                    </a:lnTo>
                    <a:lnTo>
                      <a:pt x="436" y="1840"/>
                    </a:lnTo>
                    <a:lnTo>
                      <a:pt x="432" y="1830"/>
                    </a:lnTo>
                    <a:lnTo>
                      <a:pt x="426" y="1820"/>
                    </a:lnTo>
                    <a:lnTo>
                      <a:pt x="426" y="1820"/>
                    </a:lnTo>
                    <a:lnTo>
                      <a:pt x="424" y="1810"/>
                    </a:lnTo>
                    <a:lnTo>
                      <a:pt x="422" y="1798"/>
                    </a:lnTo>
                    <a:lnTo>
                      <a:pt x="418" y="1788"/>
                    </a:lnTo>
                    <a:lnTo>
                      <a:pt x="414" y="1782"/>
                    </a:lnTo>
                    <a:lnTo>
                      <a:pt x="410" y="1776"/>
                    </a:lnTo>
                    <a:lnTo>
                      <a:pt x="410" y="1776"/>
                    </a:lnTo>
                    <a:lnTo>
                      <a:pt x="404" y="1774"/>
                    </a:lnTo>
                    <a:lnTo>
                      <a:pt x="398" y="1772"/>
                    </a:lnTo>
                    <a:lnTo>
                      <a:pt x="392" y="1774"/>
                    </a:lnTo>
                    <a:lnTo>
                      <a:pt x="388" y="1778"/>
                    </a:lnTo>
                    <a:lnTo>
                      <a:pt x="376" y="1788"/>
                    </a:lnTo>
                    <a:lnTo>
                      <a:pt x="366" y="1802"/>
                    </a:lnTo>
                    <a:lnTo>
                      <a:pt x="366" y="1802"/>
                    </a:lnTo>
                    <a:lnTo>
                      <a:pt x="362" y="1810"/>
                    </a:lnTo>
                    <a:lnTo>
                      <a:pt x="362" y="1810"/>
                    </a:lnTo>
                    <a:lnTo>
                      <a:pt x="354" y="1812"/>
                    </a:lnTo>
                    <a:lnTo>
                      <a:pt x="326" y="1828"/>
                    </a:lnTo>
                    <a:lnTo>
                      <a:pt x="326" y="1828"/>
                    </a:lnTo>
                    <a:lnTo>
                      <a:pt x="290" y="1848"/>
                    </a:lnTo>
                    <a:lnTo>
                      <a:pt x="272" y="1862"/>
                    </a:lnTo>
                    <a:lnTo>
                      <a:pt x="254" y="1876"/>
                    </a:lnTo>
                    <a:lnTo>
                      <a:pt x="254" y="1876"/>
                    </a:lnTo>
                    <a:lnTo>
                      <a:pt x="248" y="1882"/>
                    </a:lnTo>
                    <a:lnTo>
                      <a:pt x="240" y="1890"/>
                    </a:lnTo>
                    <a:lnTo>
                      <a:pt x="228" y="1902"/>
                    </a:lnTo>
                    <a:lnTo>
                      <a:pt x="212" y="1914"/>
                    </a:lnTo>
                    <a:lnTo>
                      <a:pt x="212" y="1914"/>
                    </a:lnTo>
                    <a:lnTo>
                      <a:pt x="202" y="1920"/>
                    </a:lnTo>
                    <a:lnTo>
                      <a:pt x="196" y="1928"/>
                    </a:lnTo>
                    <a:lnTo>
                      <a:pt x="186" y="1938"/>
                    </a:lnTo>
                    <a:lnTo>
                      <a:pt x="182" y="1942"/>
                    </a:lnTo>
                    <a:lnTo>
                      <a:pt x="174" y="1944"/>
                    </a:lnTo>
                    <a:lnTo>
                      <a:pt x="164" y="1942"/>
                    </a:lnTo>
                    <a:lnTo>
                      <a:pt x="150" y="1938"/>
                    </a:lnTo>
                    <a:lnTo>
                      <a:pt x="150" y="1938"/>
                    </a:lnTo>
                    <a:lnTo>
                      <a:pt x="118" y="1924"/>
                    </a:lnTo>
                    <a:lnTo>
                      <a:pt x="94" y="1912"/>
                    </a:lnTo>
                    <a:lnTo>
                      <a:pt x="66" y="1898"/>
                    </a:lnTo>
                    <a:lnTo>
                      <a:pt x="66" y="1898"/>
                    </a:lnTo>
                    <a:lnTo>
                      <a:pt x="64" y="1894"/>
                    </a:lnTo>
                    <a:lnTo>
                      <a:pt x="60" y="1890"/>
                    </a:lnTo>
                    <a:lnTo>
                      <a:pt x="52" y="1878"/>
                    </a:lnTo>
                    <a:lnTo>
                      <a:pt x="38" y="1850"/>
                    </a:lnTo>
                    <a:lnTo>
                      <a:pt x="38" y="1850"/>
                    </a:lnTo>
                    <a:lnTo>
                      <a:pt x="26" y="1822"/>
                    </a:lnTo>
                    <a:lnTo>
                      <a:pt x="26" y="1822"/>
                    </a:lnTo>
                    <a:lnTo>
                      <a:pt x="16" y="1808"/>
                    </a:lnTo>
                    <a:lnTo>
                      <a:pt x="8" y="1798"/>
                    </a:lnTo>
                    <a:lnTo>
                      <a:pt x="4" y="1790"/>
                    </a:lnTo>
                    <a:lnTo>
                      <a:pt x="4" y="1790"/>
                    </a:lnTo>
                    <a:lnTo>
                      <a:pt x="4" y="1788"/>
                    </a:lnTo>
                    <a:lnTo>
                      <a:pt x="6" y="1784"/>
                    </a:lnTo>
                    <a:lnTo>
                      <a:pt x="12" y="1776"/>
                    </a:lnTo>
                    <a:lnTo>
                      <a:pt x="22" y="1766"/>
                    </a:lnTo>
                    <a:lnTo>
                      <a:pt x="22" y="1766"/>
                    </a:lnTo>
                    <a:lnTo>
                      <a:pt x="16" y="1766"/>
                    </a:lnTo>
                    <a:lnTo>
                      <a:pt x="8" y="1764"/>
                    </a:lnTo>
                    <a:lnTo>
                      <a:pt x="4" y="1762"/>
                    </a:lnTo>
                    <a:lnTo>
                      <a:pt x="4" y="1760"/>
                    </a:lnTo>
                    <a:lnTo>
                      <a:pt x="6" y="1758"/>
                    </a:lnTo>
                    <a:lnTo>
                      <a:pt x="12" y="1754"/>
                    </a:lnTo>
                    <a:lnTo>
                      <a:pt x="12" y="1754"/>
                    </a:lnTo>
                    <a:lnTo>
                      <a:pt x="20" y="1748"/>
                    </a:lnTo>
                    <a:lnTo>
                      <a:pt x="26" y="1742"/>
                    </a:lnTo>
                    <a:lnTo>
                      <a:pt x="30" y="1736"/>
                    </a:lnTo>
                    <a:lnTo>
                      <a:pt x="32" y="1730"/>
                    </a:lnTo>
                    <a:lnTo>
                      <a:pt x="32" y="1722"/>
                    </a:lnTo>
                    <a:lnTo>
                      <a:pt x="32" y="1718"/>
                    </a:lnTo>
                    <a:lnTo>
                      <a:pt x="32" y="1718"/>
                    </a:lnTo>
                    <a:lnTo>
                      <a:pt x="36" y="1722"/>
                    </a:lnTo>
                    <a:lnTo>
                      <a:pt x="44" y="1724"/>
                    </a:lnTo>
                    <a:lnTo>
                      <a:pt x="54" y="1726"/>
                    </a:lnTo>
                    <a:lnTo>
                      <a:pt x="54" y="1726"/>
                    </a:lnTo>
                    <a:lnTo>
                      <a:pt x="60" y="1726"/>
                    </a:lnTo>
                    <a:lnTo>
                      <a:pt x="62" y="1724"/>
                    </a:lnTo>
                    <a:lnTo>
                      <a:pt x="60" y="1720"/>
                    </a:lnTo>
                    <a:lnTo>
                      <a:pt x="58" y="1714"/>
                    </a:lnTo>
                    <a:lnTo>
                      <a:pt x="54" y="1710"/>
                    </a:lnTo>
                    <a:lnTo>
                      <a:pt x="48" y="1706"/>
                    </a:lnTo>
                    <a:lnTo>
                      <a:pt x="42" y="1704"/>
                    </a:lnTo>
                    <a:lnTo>
                      <a:pt x="34" y="1702"/>
                    </a:lnTo>
                    <a:lnTo>
                      <a:pt x="34" y="1702"/>
                    </a:lnTo>
                    <a:lnTo>
                      <a:pt x="18" y="1704"/>
                    </a:lnTo>
                    <a:lnTo>
                      <a:pt x="8" y="1706"/>
                    </a:lnTo>
                    <a:lnTo>
                      <a:pt x="2" y="1704"/>
                    </a:lnTo>
                    <a:lnTo>
                      <a:pt x="0" y="1704"/>
                    </a:lnTo>
                    <a:lnTo>
                      <a:pt x="0" y="1700"/>
                    </a:lnTo>
                    <a:lnTo>
                      <a:pt x="0" y="1700"/>
                    </a:lnTo>
                    <a:lnTo>
                      <a:pt x="0" y="1692"/>
                    </a:lnTo>
                    <a:lnTo>
                      <a:pt x="0" y="1684"/>
                    </a:lnTo>
                    <a:lnTo>
                      <a:pt x="0" y="1682"/>
                    </a:lnTo>
                    <a:lnTo>
                      <a:pt x="2" y="1678"/>
                    </a:lnTo>
                    <a:lnTo>
                      <a:pt x="6" y="1676"/>
                    </a:lnTo>
                    <a:lnTo>
                      <a:pt x="10" y="1674"/>
                    </a:lnTo>
                    <a:lnTo>
                      <a:pt x="10" y="1674"/>
                    </a:lnTo>
                    <a:lnTo>
                      <a:pt x="16" y="1674"/>
                    </a:lnTo>
                    <a:lnTo>
                      <a:pt x="12" y="1670"/>
                    </a:lnTo>
                    <a:lnTo>
                      <a:pt x="4" y="1668"/>
                    </a:lnTo>
                    <a:lnTo>
                      <a:pt x="4" y="1664"/>
                    </a:lnTo>
                    <a:lnTo>
                      <a:pt x="6" y="1660"/>
                    </a:lnTo>
                    <a:lnTo>
                      <a:pt x="6" y="1660"/>
                    </a:lnTo>
                    <a:lnTo>
                      <a:pt x="16" y="1648"/>
                    </a:lnTo>
                    <a:lnTo>
                      <a:pt x="32" y="1638"/>
                    </a:lnTo>
                    <a:lnTo>
                      <a:pt x="32" y="1638"/>
                    </a:lnTo>
                    <a:lnTo>
                      <a:pt x="42" y="1630"/>
                    </a:lnTo>
                    <a:lnTo>
                      <a:pt x="44" y="1626"/>
                    </a:lnTo>
                    <a:lnTo>
                      <a:pt x="46" y="1622"/>
                    </a:lnTo>
                    <a:lnTo>
                      <a:pt x="42" y="1612"/>
                    </a:lnTo>
                    <a:lnTo>
                      <a:pt x="36" y="1598"/>
                    </a:lnTo>
                    <a:lnTo>
                      <a:pt x="36" y="1598"/>
                    </a:lnTo>
                    <a:lnTo>
                      <a:pt x="26" y="1584"/>
                    </a:lnTo>
                    <a:lnTo>
                      <a:pt x="18" y="1576"/>
                    </a:lnTo>
                    <a:lnTo>
                      <a:pt x="14" y="1570"/>
                    </a:lnTo>
                    <a:lnTo>
                      <a:pt x="16" y="1568"/>
                    </a:lnTo>
                    <a:lnTo>
                      <a:pt x="18" y="1566"/>
                    </a:lnTo>
                    <a:lnTo>
                      <a:pt x="18" y="1566"/>
                    </a:lnTo>
                    <a:lnTo>
                      <a:pt x="44" y="1550"/>
                    </a:lnTo>
                    <a:lnTo>
                      <a:pt x="44" y="1550"/>
                    </a:lnTo>
                    <a:lnTo>
                      <a:pt x="56" y="1544"/>
                    </a:lnTo>
                    <a:lnTo>
                      <a:pt x="66" y="1538"/>
                    </a:lnTo>
                    <a:lnTo>
                      <a:pt x="70" y="1536"/>
                    </a:lnTo>
                    <a:lnTo>
                      <a:pt x="72" y="1534"/>
                    </a:lnTo>
                    <a:lnTo>
                      <a:pt x="72" y="1532"/>
                    </a:lnTo>
                    <a:lnTo>
                      <a:pt x="68" y="1528"/>
                    </a:lnTo>
                    <a:lnTo>
                      <a:pt x="68" y="1528"/>
                    </a:lnTo>
                    <a:lnTo>
                      <a:pt x="62" y="1524"/>
                    </a:lnTo>
                    <a:lnTo>
                      <a:pt x="56" y="1522"/>
                    </a:lnTo>
                    <a:lnTo>
                      <a:pt x="40" y="1518"/>
                    </a:lnTo>
                    <a:lnTo>
                      <a:pt x="28" y="1514"/>
                    </a:lnTo>
                    <a:lnTo>
                      <a:pt x="24" y="1510"/>
                    </a:lnTo>
                    <a:lnTo>
                      <a:pt x="22" y="1508"/>
                    </a:lnTo>
                    <a:lnTo>
                      <a:pt x="22" y="1508"/>
                    </a:lnTo>
                    <a:lnTo>
                      <a:pt x="26" y="1502"/>
                    </a:lnTo>
                    <a:lnTo>
                      <a:pt x="34" y="1496"/>
                    </a:lnTo>
                    <a:lnTo>
                      <a:pt x="44" y="1490"/>
                    </a:lnTo>
                    <a:lnTo>
                      <a:pt x="54" y="1486"/>
                    </a:lnTo>
                    <a:lnTo>
                      <a:pt x="54" y="1486"/>
                    </a:lnTo>
                    <a:lnTo>
                      <a:pt x="64" y="1484"/>
                    </a:lnTo>
                    <a:lnTo>
                      <a:pt x="70" y="1480"/>
                    </a:lnTo>
                    <a:lnTo>
                      <a:pt x="72" y="1476"/>
                    </a:lnTo>
                    <a:lnTo>
                      <a:pt x="72" y="1472"/>
                    </a:lnTo>
                    <a:lnTo>
                      <a:pt x="72" y="1460"/>
                    </a:lnTo>
                    <a:lnTo>
                      <a:pt x="72" y="1460"/>
                    </a:lnTo>
                    <a:lnTo>
                      <a:pt x="70" y="1450"/>
                    </a:lnTo>
                    <a:lnTo>
                      <a:pt x="68" y="1448"/>
                    </a:lnTo>
                    <a:lnTo>
                      <a:pt x="68" y="1440"/>
                    </a:lnTo>
                    <a:lnTo>
                      <a:pt x="68" y="1440"/>
                    </a:lnTo>
                    <a:lnTo>
                      <a:pt x="70" y="1434"/>
                    </a:lnTo>
                    <a:lnTo>
                      <a:pt x="72" y="1432"/>
                    </a:lnTo>
                    <a:lnTo>
                      <a:pt x="74" y="1428"/>
                    </a:lnTo>
                    <a:lnTo>
                      <a:pt x="76" y="1426"/>
                    </a:lnTo>
                    <a:lnTo>
                      <a:pt x="74" y="1422"/>
                    </a:lnTo>
                    <a:lnTo>
                      <a:pt x="68" y="1410"/>
                    </a:lnTo>
                    <a:lnTo>
                      <a:pt x="68" y="1410"/>
                    </a:lnTo>
                    <a:lnTo>
                      <a:pt x="60" y="1402"/>
                    </a:lnTo>
                    <a:lnTo>
                      <a:pt x="54" y="1398"/>
                    </a:lnTo>
                    <a:lnTo>
                      <a:pt x="48" y="1398"/>
                    </a:lnTo>
                    <a:lnTo>
                      <a:pt x="42" y="1398"/>
                    </a:lnTo>
                    <a:lnTo>
                      <a:pt x="38" y="1398"/>
                    </a:lnTo>
                    <a:lnTo>
                      <a:pt x="38" y="1396"/>
                    </a:lnTo>
                    <a:lnTo>
                      <a:pt x="52" y="1382"/>
                    </a:lnTo>
                    <a:lnTo>
                      <a:pt x="52" y="1382"/>
                    </a:lnTo>
                    <a:lnTo>
                      <a:pt x="70" y="1368"/>
                    </a:lnTo>
                    <a:lnTo>
                      <a:pt x="78" y="1362"/>
                    </a:lnTo>
                    <a:lnTo>
                      <a:pt x="84" y="1360"/>
                    </a:lnTo>
                    <a:lnTo>
                      <a:pt x="94" y="1354"/>
                    </a:lnTo>
                    <a:lnTo>
                      <a:pt x="94" y="1354"/>
                    </a:lnTo>
                    <a:lnTo>
                      <a:pt x="104" y="1344"/>
                    </a:lnTo>
                    <a:lnTo>
                      <a:pt x="108" y="1336"/>
                    </a:lnTo>
                    <a:lnTo>
                      <a:pt x="108" y="1334"/>
                    </a:lnTo>
                    <a:lnTo>
                      <a:pt x="106" y="1330"/>
                    </a:lnTo>
                    <a:lnTo>
                      <a:pt x="98" y="1322"/>
                    </a:lnTo>
                    <a:lnTo>
                      <a:pt x="98" y="1322"/>
                    </a:lnTo>
                    <a:lnTo>
                      <a:pt x="92" y="1318"/>
                    </a:lnTo>
                    <a:lnTo>
                      <a:pt x="86" y="1316"/>
                    </a:lnTo>
                    <a:lnTo>
                      <a:pt x="74" y="1314"/>
                    </a:lnTo>
                    <a:lnTo>
                      <a:pt x="70" y="1314"/>
                    </a:lnTo>
                    <a:lnTo>
                      <a:pt x="70" y="1310"/>
                    </a:lnTo>
                    <a:lnTo>
                      <a:pt x="72" y="1304"/>
                    </a:lnTo>
                    <a:lnTo>
                      <a:pt x="78" y="1296"/>
                    </a:lnTo>
                    <a:lnTo>
                      <a:pt x="78" y="1296"/>
                    </a:lnTo>
                    <a:lnTo>
                      <a:pt x="100" y="1274"/>
                    </a:lnTo>
                    <a:lnTo>
                      <a:pt x="104" y="1268"/>
                    </a:lnTo>
                    <a:lnTo>
                      <a:pt x="110" y="1260"/>
                    </a:lnTo>
                    <a:lnTo>
                      <a:pt x="110" y="1260"/>
                    </a:lnTo>
                    <a:lnTo>
                      <a:pt x="114" y="1254"/>
                    </a:lnTo>
                    <a:lnTo>
                      <a:pt x="114" y="1248"/>
                    </a:lnTo>
                    <a:lnTo>
                      <a:pt x="118" y="1234"/>
                    </a:lnTo>
                    <a:lnTo>
                      <a:pt x="122" y="1228"/>
                    </a:lnTo>
                    <a:lnTo>
                      <a:pt x="126" y="1224"/>
                    </a:lnTo>
                    <a:lnTo>
                      <a:pt x="134" y="1220"/>
                    </a:lnTo>
                    <a:lnTo>
                      <a:pt x="146" y="1218"/>
                    </a:lnTo>
                    <a:lnTo>
                      <a:pt x="146" y="1218"/>
                    </a:lnTo>
                    <a:lnTo>
                      <a:pt x="170" y="1216"/>
                    </a:lnTo>
                    <a:lnTo>
                      <a:pt x="192" y="1214"/>
                    </a:lnTo>
                    <a:lnTo>
                      <a:pt x="206" y="1210"/>
                    </a:lnTo>
                    <a:lnTo>
                      <a:pt x="214" y="1208"/>
                    </a:lnTo>
                    <a:lnTo>
                      <a:pt x="214" y="1208"/>
                    </a:lnTo>
                    <a:lnTo>
                      <a:pt x="214" y="1206"/>
                    </a:lnTo>
                    <a:lnTo>
                      <a:pt x="212" y="1202"/>
                    </a:lnTo>
                    <a:lnTo>
                      <a:pt x="214" y="1196"/>
                    </a:lnTo>
                    <a:lnTo>
                      <a:pt x="220" y="1184"/>
                    </a:lnTo>
                    <a:lnTo>
                      <a:pt x="220" y="1184"/>
                    </a:lnTo>
                    <a:lnTo>
                      <a:pt x="234" y="1168"/>
                    </a:lnTo>
                    <a:lnTo>
                      <a:pt x="236" y="1166"/>
                    </a:lnTo>
                    <a:lnTo>
                      <a:pt x="238" y="1166"/>
                    </a:lnTo>
                    <a:lnTo>
                      <a:pt x="246" y="1168"/>
                    </a:lnTo>
                    <a:lnTo>
                      <a:pt x="246" y="1168"/>
                    </a:lnTo>
                    <a:lnTo>
                      <a:pt x="254" y="1176"/>
                    </a:lnTo>
                    <a:lnTo>
                      <a:pt x="258" y="1180"/>
                    </a:lnTo>
                    <a:lnTo>
                      <a:pt x="262" y="1182"/>
                    </a:lnTo>
                    <a:lnTo>
                      <a:pt x="266" y="1182"/>
                    </a:lnTo>
                    <a:lnTo>
                      <a:pt x="272" y="1182"/>
                    </a:lnTo>
                    <a:lnTo>
                      <a:pt x="280" y="1178"/>
                    </a:lnTo>
                    <a:lnTo>
                      <a:pt x="280" y="1178"/>
                    </a:lnTo>
                    <a:lnTo>
                      <a:pt x="288" y="1176"/>
                    </a:lnTo>
                    <a:lnTo>
                      <a:pt x="296" y="1174"/>
                    </a:lnTo>
                    <a:lnTo>
                      <a:pt x="304" y="1176"/>
                    </a:lnTo>
                    <a:lnTo>
                      <a:pt x="312" y="1178"/>
                    </a:lnTo>
                    <a:lnTo>
                      <a:pt x="322" y="1182"/>
                    </a:lnTo>
                    <a:lnTo>
                      <a:pt x="326" y="1182"/>
                    </a:lnTo>
                    <a:lnTo>
                      <a:pt x="330" y="1182"/>
                    </a:lnTo>
                    <a:lnTo>
                      <a:pt x="330" y="1182"/>
                    </a:lnTo>
                    <a:lnTo>
                      <a:pt x="334" y="1170"/>
                    </a:lnTo>
                    <a:lnTo>
                      <a:pt x="342" y="1136"/>
                    </a:lnTo>
                    <a:lnTo>
                      <a:pt x="342" y="1136"/>
                    </a:lnTo>
                    <a:lnTo>
                      <a:pt x="350" y="1112"/>
                    </a:lnTo>
                    <a:lnTo>
                      <a:pt x="358" y="1094"/>
                    </a:lnTo>
                    <a:lnTo>
                      <a:pt x="366" y="1084"/>
                    </a:lnTo>
                    <a:lnTo>
                      <a:pt x="374" y="1078"/>
                    </a:lnTo>
                    <a:lnTo>
                      <a:pt x="374" y="1078"/>
                    </a:lnTo>
                    <a:lnTo>
                      <a:pt x="382" y="1078"/>
                    </a:lnTo>
                    <a:lnTo>
                      <a:pt x="390" y="1080"/>
                    </a:lnTo>
                    <a:lnTo>
                      <a:pt x="400" y="1082"/>
                    </a:lnTo>
                    <a:lnTo>
                      <a:pt x="408" y="1084"/>
                    </a:lnTo>
                    <a:lnTo>
                      <a:pt x="408" y="1084"/>
                    </a:lnTo>
                    <a:lnTo>
                      <a:pt x="412" y="1084"/>
                    </a:lnTo>
                    <a:lnTo>
                      <a:pt x="416" y="1082"/>
                    </a:lnTo>
                    <a:lnTo>
                      <a:pt x="422" y="1076"/>
                    </a:lnTo>
                    <a:lnTo>
                      <a:pt x="426" y="1074"/>
                    </a:lnTo>
                    <a:lnTo>
                      <a:pt x="430" y="1074"/>
                    </a:lnTo>
                    <a:lnTo>
                      <a:pt x="432" y="1074"/>
                    </a:lnTo>
                    <a:lnTo>
                      <a:pt x="436" y="1078"/>
                    </a:lnTo>
                    <a:lnTo>
                      <a:pt x="436" y="1078"/>
                    </a:lnTo>
                    <a:lnTo>
                      <a:pt x="438" y="1084"/>
                    </a:lnTo>
                    <a:lnTo>
                      <a:pt x="440" y="1090"/>
                    </a:lnTo>
                    <a:lnTo>
                      <a:pt x="442" y="1106"/>
                    </a:lnTo>
                    <a:lnTo>
                      <a:pt x="444" y="1110"/>
                    </a:lnTo>
                    <a:lnTo>
                      <a:pt x="446" y="1112"/>
                    </a:lnTo>
                    <a:lnTo>
                      <a:pt x="450" y="1110"/>
                    </a:lnTo>
                    <a:lnTo>
                      <a:pt x="456" y="1104"/>
                    </a:lnTo>
                    <a:lnTo>
                      <a:pt x="456" y="1104"/>
                    </a:lnTo>
                    <a:lnTo>
                      <a:pt x="460" y="1096"/>
                    </a:lnTo>
                    <a:lnTo>
                      <a:pt x="462" y="1090"/>
                    </a:lnTo>
                    <a:lnTo>
                      <a:pt x="460" y="1088"/>
                    </a:lnTo>
                    <a:lnTo>
                      <a:pt x="458" y="1086"/>
                    </a:lnTo>
                    <a:lnTo>
                      <a:pt x="456" y="1082"/>
                    </a:lnTo>
                    <a:lnTo>
                      <a:pt x="456" y="1078"/>
                    </a:lnTo>
                    <a:lnTo>
                      <a:pt x="456" y="1070"/>
                    </a:lnTo>
                    <a:lnTo>
                      <a:pt x="460" y="1058"/>
                    </a:lnTo>
                    <a:lnTo>
                      <a:pt x="460" y="1058"/>
                    </a:lnTo>
                    <a:lnTo>
                      <a:pt x="466" y="1038"/>
                    </a:lnTo>
                    <a:lnTo>
                      <a:pt x="470" y="1030"/>
                    </a:lnTo>
                    <a:lnTo>
                      <a:pt x="476" y="1026"/>
                    </a:lnTo>
                    <a:lnTo>
                      <a:pt x="490" y="1014"/>
                    </a:lnTo>
                    <a:lnTo>
                      <a:pt x="490" y="1014"/>
                    </a:lnTo>
                    <a:lnTo>
                      <a:pt x="500" y="1006"/>
                    </a:lnTo>
                    <a:lnTo>
                      <a:pt x="510" y="1000"/>
                    </a:lnTo>
                    <a:lnTo>
                      <a:pt x="530" y="994"/>
                    </a:lnTo>
                    <a:lnTo>
                      <a:pt x="546" y="988"/>
                    </a:lnTo>
                    <a:lnTo>
                      <a:pt x="552" y="984"/>
                    </a:lnTo>
                    <a:lnTo>
                      <a:pt x="560" y="978"/>
                    </a:lnTo>
                    <a:lnTo>
                      <a:pt x="560" y="978"/>
                    </a:lnTo>
                    <a:lnTo>
                      <a:pt x="570" y="968"/>
                    </a:lnTo>
                    <a:lnTo>
                      <a:pt x="578" y="958"/>
                    </a:lnTo>
                    <a:lnTo>
                      <a:pt x="582" y="950"/>
                    </a:lnTo>
                    <a:lnTo>
                      <a:pt x="582" y="946"/>
                    </a:lnTo>
                    <a:lnTo>
                      <a:pt x="580" y="942"/>
                    </a:lnTo>
                    <a:lnTo>
                      <a:pt x="580" y="942"/>
                    </a:lnTo>
                    <a:lnTo>
                      <a:pt x="578" y="940"/>
                    </a:lnTo>
                    <a:lnTo>
                      <a:pt x="580" y="936"/>
                    </a:lnTo>
                    <a:lnTo>
                      <a:pt x="586" y="930"/>
                    </a:lnTo>
                    <a:lnTo>
                      <a:pt x="596" y="924"/>
                    </a:lnTo>
                    <a:lnTo>
                      <a:pt x="606" y="920"/>
                    </a:lnTo>
                    <a:lnTo>
                      <a:pt x="606" y="920"/>
                    </a:lnTo>
                    <a:lnTo>
                      <a:pt x="644" y="910"/>
                    </a:lnTo>
                    <a:lnTo>
                      <a:pt x="664" y="902"/>
                    </a:lnTo>
                    <a:lnTo>
                      <a:pt x="672" y="898"/>
                    </a:lnTo>
                    <a:lnTo>
                      <a:pt x="676" y="894"/>
                    </a:lnTo>
                    <a:lnTo>
                      <a:pt x="676" y="894"/>
                    </a:lnTo>
                    <a:lnTo>
                      <a:pt x="680" y="888"/>
                    </a:lnTo>
                    <a:lnTo>
                      <a:pt x="682" y="880"/>
                    </a:lnTo>
                    <a:lnTo>
                      <a:pt x="682" y="872"/>
                    </a:lnTo>
                    <a:lnTo>
                      <a:pt x="678" y="858"/>
                    </a:lnTo>
                    <a:lnTo>
                      <a:pt x="678" y="858"/>
                    </a:lnTo>
                    <a:lnTo>
                      <a:pt x="670" y="836"/>
                    </a:lnTo>
                    <a:lnTo>
                      <a:pt x="668" y="828"/>
                    </a:lnTo>
                    <a:lnTo>
                      <a:pt x="670" y="822"/>
                    </a:lnTo>
                    <a:lnTo>
                      <a:pt x="670" y="822"/>
                    </a:lnTo>
                    <a:lnTo>
                      <a:pt x="672" y="818"/>
                    </a:lnTo>
                    <a:lnTo>
                      <a:pt x="672" y="814"/>
                    </a:lnTo>
                    <a:lnTo>
                      <a:pt x="676" y="808"/>
                    </a:lnTo>
                    <a:lnTo>
                      <a:pt x="686" y="796"/>
                    </a:lnTo>
                    <a:lnTo>
                      <a:pt x="686" y="796"/>
                    </a:lnTo>
                    <a:lnTo>
                      <a:pt x="700" y="784"/>
                    </a:lnTo>
                    <a:lnTo>
                      <a:pt x="708" y="780"/>
                    </a:lnTo>
                    <a:lnTo>
                      <a:pt x="712" y="776"/>
                    </a:lnTo>
                    <a:lnTo>
                      <a:pt x="712" y="770"/>
                    </a:lnTo>
                    <a:lnTo>
                      <a:pt x="712" y="770"/>
                    </a:lnTo>
                    <a:lnTo>
                      <a:pt x="710" y="762"/>
                    </a:lnTo>
                    <a:lnTo>
                      <a:pt x="708" y="758"/>
                    </a:lnTo>
                    <a:lnTo>
                      <a:pt x="706" y="754"/>
                    </a:lnTo>
                    <a:lnTo>
                      <a:pt x="710" y="746"/>
                    </a:lnTo>
                    <a:lnTo>
                      <a:pt x="710" y="746"/>
                    </a:lnTo>
                    <a:lnTo>
                      <a:pt x="714" y="736"/>
                    </a:lnTo>
                    <a:lnTo>
                      <a:pt x="718" y="726"/>
                    </a:lnTo>
                    <a:lnTo>
                      <a:pt x="720" y="722"/>
                    </a:lnTo>
                    <a:lnTo>
                      <a:pt x="724" y="720"/>
                    </a:lnTo>
                    <a:lnTo>
                      <a:pt x="738" y="716"/>
                    </a:lnTo>
                    <a:lnTo>
                      <a:pt x="738" y="716"/>
                    </a:lnTo>
                    <a:lnTo>
                      <a:pt x="746" y="714"/>
                    </a:lnTo>
                    <a:lnTo>
                      <a:pt x="754" y="714"/>
                    </a:lnTo>
                    <a:lnTo>
                      <a:pt x="764" y="718"/>
                    </a:lnTo>
                    <a:lnTo>
                      <a:pt x="766" y="718"/>
                    </a:lnTo>
                    <a:lnTo>
                      <a:pt x="766" y="718"/>
                    </a:lnTo>
                    <a:lnTo>
                      <a:pt x="760" y="710"/>
                    </a:lnTo>
                    <a:lnTo>
                      <a:pt x="760" y="710"/>
                    </a:lnTo>
                    <a:lnTo>
                      <a:pt x="756" y="704"/>
                    </a:lnTo>
                    <a:lnTo>
                      <a:pt x="750" y="698"/>
                    </a:lnTo>
                    <a:lnTo>
                      <a:pt x="738" y="692"/>
                    </a:lnTo>
                    <a:lnTo>
                      <a:pt x="734" y="690"/>
                    </a:lnTo>
                    <a:lnTo>
                      <a:pt x="732" y="688"/>
                    </a:lnTo>
                    <a:lnTo>
                      <a:pt x="732" y="684"/>
                    </a:lnTo>
                    <a:lnTo>
                      <a:pt x="734" y="678"/>
                    </a:lnTo>
                    <a:lnTo>
                      <a:pt x="734" y="678"/>
                    </a:lnTo>
                    <a:lnTo>
                      <a:pt x="738" y="664"/>
                    </a:lnTo>
                    <a:lnTo>
                      <a:pt x="746" y="654"/>
                    </a:lnTo>
                    <a:lnTo>
                      <a:pt x="750" y="648"/>
                    </a:lnTo>
                    <a:lnTo>
                      <a:pt x="756" y="644"/>
                    </a:lnTo>
                    <a:lnTo>
                      <a:pt x="766" y="640"/>
                    </a:lnTo>
                    <a:lnTo>
                      <a:pt x="776" y="636"/>
                    </a:lnTo>
                    <a:lnTo>
                      <a:pt x="776" y="636"/>
                    </a:lnTo>
                    <a:lnTo>
                      <a:pt x="786" y="632"/>
                    </a:lnTo>
                    <a:lnTo>
                      <a:pt x="788" y="630"/>
                    </a:lnTo>
                    <a:lnTo>
                      <a:pt x="788" y="628"/>
                    </a:lnTo>
                    <a:lnTo>
                      <a:pt x="788" y="628"/>
                    </a:lnTo>
                    <a:lnTo>
                      <a:pt x="788" y="626"/>
                    </a:lnTo>
                    <a:lnTo>
                      <a:pt x="792" y="624"/>
                    </a:lnTo>
                    <a:lnTo>
                      <a:pt x="818" y="616"/>
                    </a:lnTo>
                    <a:lnTo>
                      <a:pt x="818" y="616"/>
                    </a:lnTo>
                    <a:lnTo>
                      <a:pt x="878" y="606"/>
                    </a:lnTo>
                    <a:lnTo>
                      <a:pt x="884" y="604"/>
                    </a:lnTo>
                    <a:lnTo>
                      <a:pt x="884" y="602"/>
                    </a:lnTo>
                    <a:lnTo>
                      <a:pt x="884" y="602"/>
                    </a:lnTo>
                    <a:lnTo>
                      <a:pt x="868" y="598"/>
                    </a:lnTo>
                    <a:lnTo>
                      <a:pt x="868" y="598"/>
                    </a:lnTo>
                    <a:lnTo>
                      <a:pt x="816" y="586"/>
                    </a:lnTo>
                    <a:lnTo>
                      <a:pt x="816" y="586"/>
                    </a:lnTo>
                    <a:lnTo>
                      <a:pt x="814" y="580"/>
                    </a:lnTo>
                    <a:lnTo>
                      <a:pt x="812" y="568"/>
                    </a:lnTo>
                    <a:lnTo>
                      <a:pt x="814" y="558"/>
                    </a:lnTo>
                    <a:lnTo>
                      <a:pt x="818" y="550"/>
                    </a:lnTo>
                    <a:lnTo>
                      <a:pt x="824" y="542"/>
                    </a:lnTo>
                    <a:lnTo>
                      <a:pt x="834" y="534"/>
                    </a:lnTo>
                    <a:lnTo>
                      <a:pt x="834" y="534"/>
                    </a:lnTo>
                    <a:lnTo>
                      <a:pt x="856" y="524"/>
                    </a:lnTo>
                    <a:lnTo>
                      <a:pt x="870" y="518"/>
                    </a:lnTo>
                    <a:lnTo>
                      <a:pt x="882" y="512"/>
                    </a:lnTo>
                    <a:lnTo>
                      <a:pt x="892" y="508"/>
                    </a:lnTo>
                    <a:lnTo>
                      <a:pt x="892" y="508"/>
                    </a:lnTo>
                    <a:lnTo>
                      <a:pt x="904" y="500"/>
                    </a:lnTo>
                    <a:lnTo>
                      <a:pt x="914" y="494"/>
                    </a:lnTo>
                    <a:lnTo>
                      <a:pt x="918" y="490"/>
                    </a:lnTo>
                    <a:lnTo>
                      <a:pt x="918" y="486"/>
                    </a:lnTo>
                    <a:lnTo>
                      <a:pt x="918" y="484"/>
                    </a:lnTo>
                    <a:lnTo>
                      <a:pt x="914" y="480"/>
                    </a:lnTo>
                    <a:lnTo>
                      <a:pt x="914" y="480"/>
                    </a:lnTo>
                    <a:lnTo>
                      <a:pt x="910" y="478"/>
                    </a:lnTo>
                    <a:lnTo>
                      <a:pt x="902" y="478"/>
                    </a:lnTo>
                    <a:lnTo>
                      <a:pt x="888" y="482"/>
                    </a:lnTo>
                    <a:lnTo>
                      <a:pt x="882" y="482"/>
                    </a:lnTo>
                    <a:lnTo>
                      <a:pt x="882" y="480"/>
                    </a:lnTo>
                    <a:lnTo>
                      <a:pt x="882" y="478"/>
                    </a:lnTo>
                    <a:lnTo>
                      <a:pt x="886" y="470"/>
                    </a:lnTo>
                    <a:lnTo>
                      <a:pt x="894" y="458"/>
                    </a:lnTo>
                    <a:lnTo>
                      <a:pt x="894" y="458"/>
                    </a:lnTo>
                    <a:lnTo>
                      <a:pt x="914" y="434"/>
                    </a:lnTo>
                    <a:lnTo>
                      <a:pt x="924" y="424"/>
                    </a:lnTo>
                    <a:lnTo>
                      <a:pt x="930" y="420"/>
                    </a:lnTo>
                    <a:lnTo>
                      <a:pt x="936" y="418"/>
                    </a:lnTo>
                    <a:lnTo>
                      <a:pt x="936" y="418"/>
                    </a:lnTo>
                    <a:lnTo>
                      <a:pt x="956" y="414"/>
                    </a:lnTo>
                    <a:lnTo>
                      <a:pt x="958" y="412"/>
                    </a:lnTo>
                    <a:lnTo>
                      <a:pt x="958" y="412"/>
                    </a:lnTo>
                    <a:lnTo>
                      <a:pt x="948" y="406"/>
                    </a:lnTo>
                    <a:lnTo>
                      <a:pt x="948" y="406"/>
                    </a:lnTo>
                    <a:lnTo>
                      <a:pt x="938" y="406"/>
                    </a:lnTo>
                    <a:lnTo>
                      <a:pt x="928" y="406"/>
                    </a:lnTo>
                    <a:lnTo>
                      <a:pt x="912" y="410"/>
                    </a:lnTo>
                    <a:lnTo>
                      <a:pt x="906" y="412"/>
                    </a:lnTo>
                    <a:lnTo>
                      <a:pt x="902" y="410"/>
                    </a:lnTo>
                    <a:lnTo>
                      <a:pt x="904" y="406"/>
                    </a:lnTo>
                    <a:lnTo>
                      <a:pt x="908" y="396"/>
                    </a:lnTo>
                    <a:lnTo>
                      <a:pt x="908" y="396"/>
                    </a:lnTo>
                    <a:lnTo>
                      <a:pt x="916" y="382"/>
                    </a:lnTo>
                    <a:lnTo>
                      <a:pt x="916" y="378"/>
                    </a:lnTo>
                    <a:lnTo>
                      <a:pt x="914" y="380"/>
                    </a:lnTo>
                    <a:lnTo>
                      <a:pt x="902" y="384"/>
                    </a:lnTo>
                    <a:lnTo>
                      <a:pt x="880" y="394"/>
                    </a:lnTo>
                    <a:lnTo>
                      <a:pt x="880" y="394"/>
                    </a:lnTo>
                    <a:lnTo>
                      <a:pt x="842" y="406"/>
                    </a:lnTo>
                    <a:lnTo>
                      <a:pt x="820" y="412"/>
                    </a:lnTo>
                    <a:lnTo>
                      <a:pt x="820" y="412"/>
                    </a:lnTo>
                    <a:lnTo>
                      <a:pt x="792" y="420"/>
                    </a:lnTo>
                    <a:lnTo>
                      <a:pt x="788" y="420"/>
                    </a:lnTo>
                    <a:lnTo>
                      <a:pt x="788" y="418"/>
                    </a:lnTo>
                    <a:lnTo>
                      <a:pt x="808" y="404"/>
                    </a:lnTo>
                    <a:lnTo>
                      <a:pt x="808" y="404"/>
                    </a:lnTo>
                    <a:lnTo>
                      <a:pt x="840" y="386"/>
                    </a:lnTo>
                    <a:lnTo>
                      <a:pt x="862" y="374"/>
                    </a:lnTo>
                    <a:lnTo>
                      <a:pt x="886" y="362"/>
                    </a:lnTo>
                    <a:lnTo>
                      <a:pt x="886" y="362"/>
                    </a:lnTo>
                    <a:lnTo>
                      <a:pt x="886" y="360"/>
                    </a:lnTo>
                    <a:lnTo>
                      <a:pt x="884" y="360"/>
                    </a:lnTo>
                    <a:lnTo>
                      <a:pt x="876" y="360"/>
                    </a:lnTo>
                    <a:lnTo>
                      <a:pt x="872" y="360"/>
                    </a:lnTo>
                    <a:lnTo>
                      <a:pt x="872" y="358"/>
                    </a:lnTo>
                    <a:lnTo>
                      <a:pt x="874" y="352"/>
                    </a:lnTo>
                    <a:lnTo>
                      <a:pt x="882" y="344"/>
                    </a:lnTo>
                    <a:lnTo>
                      <a:pt x="882" y="344"/>
                    </a:lnTo>
                    <a:lnTo>
                      <a:pt x="892" y="336"/>
                    </a:lnTo>
                    <a:lnTo>
                      <a:pt x="900" y="332"/>
                    </a:lnTo>
                    <a:lnTo>
                      <a:pt x="906" y="330"/>
                    </a:lnTo>
                    <a:lnTo>
                      <a:pt x="908" y="330"/>
                    </a:lnTo>
                    <a:lnTo>
                      <a:pt x="910" y="328"/>
                    </a:lnTo>
                    <a:lnTo>
                      <a:pt x="912" y="318"/>
                    </a:lnTo>
                    <a:lnTo>
                      <a:pt x="912" y="318"/>
                    </a:lnTo>
                    <a:lnTo>
                      <a:pt x="916" y="302"/>
                    </a:lnTo>
                    <a:lnTo>
                      <a:pt x="918" y="290"/>
                    </a:lnTo>
                    <a:lnTo>
                      <a:pt x="918" y="286"/>
                    </a:lnTo>
                    <a:lnTo>
                      <a:pt x="920" y="282"/>
                    </a:lnTo>
                    <a:lnTo>
                      <a:pt x="924" y="278"/>
                    </a:lnTo>
                    <a:lnTo>
                      <a:pt x="930" y="276"/>
                    </a:lnTo>
                    <a:lnTo>
                      <a:pt x="930" y="276"/>
                    </a:lnTo>
                    <a:lnTo>
                      <a:pt x="940" y="272"/>
                    </a:lnTo>
                    <a:lnTo>
                      <a:pt x="944" y="272"/>
                    </a:lnTo>
                    <a:lnTo>
                      <a:pt x="948" y="276"/>
                    </a:lnTo>
                    <a:lnTo>
                      <a:pt x="956" y="288"/>
                    </a:lnTo>
                    <a:lnTo>
                      <a:pt x="956" y="288"/>
                    </a:lnTo>
                    <a:lnTo>
                      <a:pt x="966" y="306"/>
                    </a:lnTo>
                    <a:lnTo>
                      <a:pt x="974" y="318"/>
                    </a:lnTo>
                    <a:lnTo>
                      <a:pt x="978" y="324"/>
                    </a:lnTo>
                    <a:lnTo>
                      <a:pt x="984" y="326"/>
                    </a:lnTo>
                    <a:lnTo>
                      <a:pt x="992" y="328"/>
                    </a:lnTo>
                    <a:lnTo>
                      <a:pt x="1004" y="328"/>
                    </a:lnTo>
                    <a:lnTo>
                      <a:pt x="1004" y="328"/>
                    </a:lnTo>
                    <a:lnTo>
                      <a:pt x="1028" y="322"/>
                    </a:lnTo>
                    <a:lnTo>
                      <a:pt x="1044" y="318"/>
                    </a:lnTo>
                    <a:lnTo>
                      <a:pt x="1046" y="316"/>
                    </a:lnTo>
                    <a:lnTo>
                      <a:pt x="1046" y="314"/>
                    </a:lnTo>
                    <a:lnTo>
                      <a:pt x="1040" y="312"/>
                    </a:lnTo>
                    <a:lnTo>
                      <a:pt x="1030" y="308"/>
                    </a:lnTo>
                    <a:lnTo>
                      <a:pt x="1030" y="308"/>
                    </a:lnTo>
                    <a:lnTo>
                      <a:pt x="1024" y="306"/>
                    </a:lnTo>
                    <a:lnTo>
                      <a:pt x="1018" y="302"/>
                    </a:lnTo>
                    <a:lnTo>
                      <a:pt x="1010" y="294"/>
                    </a:lnTo>
                    <a:lnTo>
                      <a:pt x="1004" y="284"/>
                    </a:lnTo>
                    <a:lnTo>
                      <a:pt x="1002" y="272"/>
                    </a:lnTo>
                    <a:lnTo>
                      <a:pt x="1002" y="262"/>
                    </a:lnTo>
                    <a:lnTo>
                      <a:pt x="1004" y="254"/>
                    </a:lnTo>
                    <a:lnTo>
                      <a:pt x="1006" y="248"/>
                    </a:lnTo>
                    <a:lnTo>
                      <a:pt x="1008" y="244"/>
                    </a:lnTo>
                    <a:lnTo>
                      <a:pt x="1008" y="244"/>
                    </a:lnTo>
                    <a:lnTo>
                      <a:pt x="1012" y="244"/>
                    </a:lnTo>
                    <a:lnTo>
                      <a:pt x="1012" y="246"/>
                    </a:lnTo>
                    <a:lnTo>
                      <a:pt x="1016" y="250"/>
                    </a:lnTo>
                    <a:lnTo>
                      <a:pt x="1020" y="256"/>
                    </a:lnTo>
                    <a:lnTo>
                      <a:pt x="1028" y="262"/>
                    </a:lnTo>
                    <a:lnTo>
                      <a:pt x="1028" y="262"/>
                    </a:lnTo>
                    <a:lnTo>
                      <a:pt x="1038" y="266"/>
                    </a:lnTo>
                    <a:lnTo>
                      <a:pt x="1050" y="268"/>
                    </a:lnTo>
                    <a:lnTo>
                      <a:pt x="1060" y="266"/>
                    </a:lnTo>
                    <a:lnTo>
                      <a:pt x="1064" y="264"/>
                    </a:lnTo>
                    <a:lnTo>
                      <a:pt x="1068" y="260"/>
                    </a:lnTo>
                    <a:lnTo>
                      <a:pt x="1068" y="260"/>
                    </a:lnTo>
                    <a:lnTo>
                      <a:pt x="1072" y="258"/>
                    </a:lnTo>
                    <a:lnTo>
                      <a:pt x="1074" y="260"/>
                    </a:lnTo>
                    <a:lnTo>
                      <a:pt x="1080" y="268"/>
                    </a:lnTo>
                    <a:lnTo>
                      <a:pt x="1082" y="272"/>
                    </a:lnTo>
                    <a:lnTo>
                      <a:pt x="1084" y="274"/>
                    </a:lnTo>
                    <a:lnTo>
                      <a:pt x="1084" y="272"/>
                    </a:lnTo>
                    <a:lnTo>
                      <a:pt x="1086" y="264"/>
                    </a:lnTo>
                    <a:lnTo>
                      <a:pt x="1086" y="264"/>
                    </a:lnTo>
                    <a:lnTo>
                      <a:pt x="1088" y="244"/>
                    </a:lnTo>
                    <a:lnTo>
                      <a:pt x="1092" y="234"/>
                    </a:lnTo>
                    <a:lnTo>
                      <a:pt x="1094" y="226"/>
                    </a:lnTo>
                    <a:lnTo>
                      <a:pt x="1100" y="216"/>
                    </a:lnTo>
                    <a:lnTo>
                      <a:pt x="1108" y="210"/>
                    </a:lnTo>
                    <a:lnTo>
                      <a:pt x="1118" y="202"/>
                    </a:lnTo>
                    <a:lnTo>
                      <a:pt x="1130" y="196"/>
                    </a:lnTo>
                    <a:lnTo>
                      <a:pt x="1130" y="196"/>
                    </a:lnTo>
                    <a:lnTo>
                      <a:pt x="1152" y="186"/>
                    </a:lnTo>
                    <a:lnTo>
                      <a:pt x="1160" y="184"/>
                    </a:lnTo>
                    <a:lnTo>
                      <a:pt x="1164" y="184"/>
                    </a:lnTo>
                    <a:lnTo>
                      <a:pt x="1168" y="184"/>
                    </a:lnTo>
                    <a:lnTo>
                      <a:pt x="1172" y="188"/>
                    </a:lnTo>
                    <a:lnTo>
                      <a:pt x="1172" y="196"/>
                    </a:lnTo>
                    <a:lnTo>
                      <a:pt x="1174" y="206"/>
                    </a:lnTo>
                    <a:lnTo>
                      <a:pt x="1174" y="206"/>
                    </a:lnTo>
                    <a:lnTo>
                      <a:pt x="1172" y="216"/>
                    </a:lnTo>
                    <a:lnTo>
                      <a:pt x="1170" y="226"/>
                    </a:lnTo>
                    <a:lnTo>
                      <a:pt x="1162" y="242"/>
                    </a:lnTo>
                    <a:lnTo>
                      <a:pt x="1156" y="254"/>
                    </a:lnTo>
                    <a:lnTo>
                      <a:pt x="1156" y="256"/>
                    </a:lnTo>
                    <a:lnTo>
                      <a:pt x="1156" y="260"/>
                    </a:lnTo>
                    <a:lnTo>
                      <a:pt x="1156" y="260"/>
                    </a:lnTo>
                    <a:lnTo>
                      <a:pt x="1160" y="258"/>
                    </a:lnTo>
                    <a:lnTo>
                      <a:pt x="1164" y="256"/>
                    </a:lnTo>
                    <a:lnTo>
                      <a:pt x="1176" y="242"/>
                    </a:lnTo>
                    <a:lnTo>
                      <a:pt x="1186" y="226"/>
                    </a:lnTo>
                    <a:lnTo>
                      <a:pt x="1188" y="218"/>
                    </a:lnTo>
                    <a:lnTo>
                      <a:pt x="1190" y="210"/>
                    </a:lnTo>
                    <a:lnTo>
                      <a:pt x="1190" y="210"/>
                    </a:lnTo>
                    <a:lnTo>
                      <a:pt x="1192" y="196"/>
                    </a:lnTo>
                    <a:lnTo>
                      <a:pt x="1194" y="180"/>
                    </a:lnTo>
                    <a:lnTo>
                      <a:pt x="1196" y="174"/>
                    </a:lnTo>
                    <a:lnTo>
                      <a:pt x="1200" y="170"/>
                    </a:lnTo>
                    <a:lnTo>
                      <a:pt x="1204" y="170"/>
                    </a:lnTo>
                    <a:lnTo>
                      <a:pt x="1210" y="172"/>
                    </a:lnTo>
                    <a:lnTo>
                      <a:pt x="1210" y="172"/>
                    </a:lnTo>
                    <a:lnTo>
                      <a:pt x="1220" y="176"/>
                    </a:lnTo>
                    <a:lnTo>
                      <a:pt x="1228" y="178"/>
                    </a:lnTo>
                    <a:lnTo>
                      <a:pt x="1234" y="180"/>
                    </a:lnTo>
                    <a:lnTo>
                      <a:pt x="1242" y="190"/>
                    </a:lnTo>
                    <a:lnTo>
                      <a:pt x="1242" y="190"/>
                    </a:lnTo>
                    <a:lnTo>
                      <a:pt x="1256" y="218"/>
                    </a:lnTo>
                    <a:lnTo>
                      <a:pt x="1260" y="224"/>
                    </a:lnTo>
                    <a:lnTo>
                      <a:pt x="1260" y="226"/>
                    </a:lnTo>
                    <a:lnTo>
                      <a:pt x="1260" y="224"/>
                    </a:lnTo>
                    <a:lnTo>
                      <a:pt x="1260" y="224"/>
                    </a:lnTo>
                    <a:lnTo>
                      <a:pt x="1260" y="200"/>
                    </a:lnTo>
                    <a:lnTo>
                      <a:pt x="1258" y="184"/>
                    </a:lnTo>
                    <a:lnTo>
                      <a:pt x="1254" y="172"/>
                    </a:lnTo>
                    <a:lnTo>
                      <a:pt x="1254" y="172"/>
                    </a:lnTo>
                    <a:lnTo>
                      <a:pt x="1252" y="170"/>
                    </a:lnTo>
                    <a:lnTo>
                      <a:pt x="1250" y="170"/>
                    </a:lnTo>
                    <a:lnTo>
                      <a:pt x="1244" y="170"/>
                    </a:lnTo>
                    <a:lnTo>
                      <a:pt x="1242" y="170"/>
                    </a:lnTo>
                    <a:lnTo>
                      <a:pt x="1242" y="166"/>
                    </a:lnTo>
                    <a:lnTo>
                      <a:pt x="1252" y="152"/>
                    </a:lnTo>
                    <a:lnTo>
                      <a:pt x="1252" y="152"/>
                    </a:lnTo>
                    <a:lnTo>
                      <a:pt x="1258" y="142"/>
                    </a:lnTo>
                    <a:lnTo>
                      <a:pt x="1266" y="134"/>
                    </a:lnTo>
                    <a:lnTo>
                      <a:pt x="1274" y="130"/>
                    </a:lnTo>
                    <a:lnTo>
                      <a:pt x="1282" y="128"/>
                    </a:lnTo>
                    <a:lnTo>
                      <a:pt x="1290" y="126"/>
                    </a:lnTo>
                    <a:lnTo>
                      <a:pt x="1294" y="128"/>
                    </a:lnTo>
                    <a:lnTo>
                      <a:pt x="1298" y="130"/>
                    </a:lnTo>
                    <a:lnTo>
                      <a:pt x="1300" y="132"/>
                    </a:lnTo>
                    <a:lnTo>
                      <a:pt x="1300" y="132"/>
                    </a:lnTo>
                    <a:lnTo>
                      <a:pt x="1298" y="138"/>
                    </a:lnTo>
                    <a:lnTo>
                      <a:pt x="1294" y="150"/>
                    </a:lnTo>
                    <a:lnTo>
                      <a:pt x="1292" y="156"/>
                    </a:lnTo>
                    <a:lnTo>
                      <a:pt x="1292" y="162"/>
                    </a:lnTo>
                    <a:lnTo>
                      <a:pt x="1296" y="170"/>
                    </a:lnTo>
                    <a:lnTo>
                      <a:pt x="1300" y="178"/>
                    </a:lnTo>
                    <a:lnTo>
                      <a:pt x="1300" y="178"/>
                    </a:lnTo>
                    <a:lnTo>
                      <a:pt x="1308" y="184"/>
                    </a:lnTo>
                    <a:lnTo>
                      <a:pt x="1312" y="184"/>
                    </a:lnTo>
                    <a:lnTo>
                      <a:pt x="1316" y="182"/>
                    </a:lnTo>
                    <a:lnTo>
                      <a:pt x="1320" y="176"/>
                    </a:lnTo>
                    <a:lnTo>
                      <a:pt x="1324" y="164"/>
                    </a:lnTo>
                    <a:lnTo>
                      <a:pt x="1324" y="158"/>
                    </a:lnTo>
                    <a:lnTo>
                      <a:pt x="1324" y="158"/>
                    </a:lnTo>
                    <a:lnTo>
                      <a:pt x="1320" y="160"/>
                    </a:lnTo>
                    <a:lnTo>
                      <a:pt x="1316" y="160"/>
                    </a:lnTo>
                    <a:lnTo>
                      <a:pt x="1314" y="158"/>
                    </a:lnTo>
                    <a:lnTo>
                      <a:pt x="1310" y="156"/>
                    </a:lnTo>
                    <a:lnTo>
                      <a:pt x="1310" y="152"/>
                    </a:lnTo>
                    <a:lnTo>
                      <a:pt x="1310" y="144"/>
                    </a:lnTo>
                    <a:lnTo>
                      <a:pt x="1316" y="134"/>
                    </a:lnTo>
                    <a:lnTo>
                      <a:pt x="1316" y="134"/>
                    </a:lnTo>
                    <a:lnTo>
                      <a:pt x="1326" y="114"/>
                    </a:lnTo>
                    <a:lnTo>
                      <a:pt x="1328" y="104"/>
                    </a:lnTo>
                    <a:lnTo>
                      <a:pt x="1328" y="102"/>
                    </a:lnTo>
                    <a:lnTo>
                      <a:pt x="1326" y="100"/>
                    </a:lnTo>
                    <a:lnTo>
                      <a:pt x="1326" y="100"/>
                    </a:lnTo>
                    <a:lnTo>
                      <a:pt x="1328" y="96"/>
                    </a:lnTo>
                    <a:lnTo>
                      <a:pt x="1334" y="86"/>
                    </a:lnTo>
                    <a:lnTo>
                      <a:pt x="1340" y="80"/>
                    </a:lnTo>
                    <a:lnTo>
                      <a:pt x="1346" y="74"/>
                    </a:lnTo>
                    <a:lnTo>
                      <a:pt x="1356" y="70"/>
                    </a:lnTo>
                    <a:lnTo>
                      <a:pt x="1368" y="66"/>
                    </a:lnTo>
                    <a:lnTo>
                      <a:pt x="1368" y="66"/>
                    </a:lnTo>
                    <a:lnTo>
                      <a:pt x="1378" y="62"/>
                    </a:lnTo>
                    <a:lnTo>
                      <a:pt x="1386" y="60"/>
                    </a:lnTo>
                    <a:lnTo>
                      <a:pt x="1398" y="52"/>
                    </a:lnTo>
                    <a:lnTo>
                      <a:pt x="1406" y="48"/>
                    </a:lnTo>
                    <a:lnTo>
                      <a:pt x="1410" y="48"/>
                    </a:lnTo>
                    <a:lnTo>
                      <a:pt x="1414" y="50"/>
                    </a:lnTo>
                    <a:lnTo>
                      <a:pt x="1414" y="50"/>
                    </a:lnTo>
                    <a:lnTo>
                      <a:pt x="1418" y="54"/>
                    </a:lnTo>
                    <a:lnTo>
                      <a:pt x="1420" y="60"/>
                    </a:lnTo>
                    <a:lnTo>
                      <a:pt x="1420" y="68"/>
                    </a:lnTo>
                    <a:lnTo>
                      <a:pt x="1418" y="76"/>
                    </a:lnTo>
                    <a:lnTo>
                      <a:pt x="1410" y="92"/>
                    </a:lnTo>
                    <a:lnTo>
                      <a:pt x="1402" y="108"/>
                    </a:lnTo>
                    <a:lnTo>
                      <a:pt x="1402" y="108"/>
                    </a:lnTo>
                    <a:lnTo>
                      <a:pt x="1396" y="120"/>
                    </a:lnTo>
                    <a:lnTo>
                      <a:pt x="1394" y="132"/>
                    </a:lnTo>
                    <a:lnTo>
                      <a:pt x="1394" y="142"/>
                    </a:lnTo>
                    <a:lnTo>
                      <a:pt x="1398" y="152"/>
                    </a:lnTo>
                    <a:lnTo>
                      <a:pt x="1398" y="152"/>
                    </a:lnTo>
                    <a:lnTo>
                      <a:pt x="1398" y="160"/>
                    </a:lnTo>
                    <a:lnTo>
                      <a:pt x="1398" y="170"/>
                    </a:lnTo>
                    <a:lnTo>
                      <a:pt x="1392" y="190"/>
                    </a:lnTo>
                    <a:lnTo>
                      <a:pt x="1392" y="198"/>
                    </a:lnTo>
                    <a:lnTo>
                      <a:pt x="1392" y="200"/>
                    </a:lnTo>
                    <a:lnTo>
                      <a:pt x="1394" y="200"/>
                    </a:lnTo>
                    <a:lnTo>
                      <a:pt x="1398" y="196"/>
                    </a:lnTo>
                    <a:lnTo>
                      <a:pt x="1408" y="184"/>
                    </a:lnTo>
                    <a:lnTo>
                      <a:pt x="1408" y="184"/>
                    </a:lnTo>
                    <a:lnTo>
                      <a:pt x="1428" y="158"/>
                    </a:lnTo>
                    <a:lnTo>
                      <a:pt x="1436" y="142"/>
                    </a:lnTo>
                    <a:lnTo>
                      <a:pt x="1442" y="126"/>
                    </a:lnTo>
                    <a:lnTo>
                      <a:pt x="1446" y="106"/>
                    </a:lnTo>
                    <a:lnTo>
                      <a:pt x="1446" y="106"/>
                    </a:lnTo>
                    <a:lnTo>
                      <a:pt x="1454" y="80"/>
                    </a:lnTo>
                    <a:lnTo>
                      <a:pt x="1464" y="58"/>
                    </a:lnTo>
                    <a:lnTo>
                      <a:pt x="1470" y="50"/>
                    </a:lnTo>
                    <a:lnTo>
                      <a:pt x="1476" y="44"/>
                    </a:lnTo>
                    <a:lnTo>
                      <a:pt x="1482" y="38"/>
                    </a:lnTo>
                    <a:lnTo>
                      <a:pt x="1488" y="36"/>
                    </a:lnTo>
                    <a:lnTo>
                      <a:pt x="1488" y="36"/>
                    </a:lnTo>
                    <a:lnTo>
                      <a:pt x="1492" y="38"/>
                    </a:lnTo>
                    <a:lnTo>
                      <a:pt x="1496" y="40"/>
                    </a:lnTo>
                    <a:lnTo>
                      <a:pt x="1496" y="44"/>
                    </a:lnTo>
                    <a:lnTo>
                      <a:pt x="1496" y="50"/>
                    </a:lnTo>
                    <a:lnTo>
                      <a:pt x="1494" y="64"/>
                    </a:lnTo>
                    <a:lnTo>
                      <a:pt x="1490" y="72"/>
                    </a:lnTo>
                    <a:lnTo>
                      <a:pt x="1490" y="72"/>
                    </a:lnTo>
                    <a:lnTo>
                      <a:pt x="1488" y="78"/>
                    </a:lnTo>
                    <a:lnTo>
                      <a:pt x="1488" y="80"/>
                    </a:lnTo>
                    <a:lnTo>
                      <a:pt x="1488" y="82"/>
                    </a:lnTo>
                    <a:lnTo>
                      <a:pt x="1494" y="76"/>
                    </a:lnTo>
                    <a:lnTo>
                      <a:pt x="1502" y="62"/>
                    </a:lnTo>
                    <a:lnTo>
                      <a:pt x="1502" y="62"/>
                    </a:lnTo>
                    <a:lnTo>
                      <a:pt x="1506" y="50"/>
                    </a:lnTo>
                    <a:lnTo>
                      <a:pt x="1508" y="40"/>
                    </a:lnTo>
                    <a:lnTo>
                      <a:pt x="1508" y="24"/>
                    </a:lnTo>
                    <a:lnTo>
                      <a:pt x="1510" y="16"/>
                    </a:lnTo>
                    <a:lnTo>
                      <a:pt x="1512" y="12"/>
                    </a:lnTo>
                    <a:lnTo>
                      <a:pt x="1520" y="6"/>
                    </a:lnTo>
                    <a:lnTo>
                      <a:pt x="1530" y="2"/>
                    </a:lnTo>
                    <a:lnTo>
                      <a:pt x="1530" y="2"/>
                    </a:lnTo>
                    <a:lnTo>
                      <a:pt x="1542" y="0"/>
                    </a:lnTo>
                    <a:lnTo>
                      <a:pt x="1552" y="2"/>
                    </a:lnTo>
                    <a:lnTo>
                      <a:pt x="1560" y="6"/>
                    </a:lnTo>
                    <a:lnTo>
                      <a:pt x="1564" y="12"/>
                    </a:lnTo>
                    <a:lnTo>
                      <a:pt x="1566" y="18"/>
                    </a:lnTo>
                    <a:lnTo>
                      <a:pt x="1564" y="26"/>
                    </a:lnTo>
                    <a:lnTo>
                      <a:pt x="1562" y="34"/>
                    </a:lnTo>
                    <a:lnTo>
                      <a:pt x="1556" y="44"/>
                    </a:lnTo>
                    <a:lnTo>
                      <a:pt x="1556" y="44"/>
                    </a:lnTo>
                    <a:lnTo>
                      <a:pt x="1546" y="60"/>
                    </a:lnTo>
                    <a:lnTo>
                      <a:pt x="1536" y="74"/>
                    </a:lnTo>
                    <a:lnTo>
                      <a:pt x="1534" y="80"/>
                    </a:lnTo>
                    <a:lnTo>
                      <a:pt x="1534" y="86"/>
                    </a:lnTo>
                    <a:lnTo>
                      <a:pt x="1536" y="92"/>
                    </a:lnTo>
                    <a:lnTo>
                      <a:pt x="1540" y="98"/>
                    </a:lnTo>
                    <a:lnTo>
                      <a:pt x="1540" y="98"/>
                    </a:lnTo>
                    <a:lnTo>
                      <a:pt x="1544" y="106"/>
                    </a:lnTo>
                    <a:lnTo>
                      <a:pt x="1548" y="116"/>
                    </a:lnTo>
                    <a:lnTo>
                      <a:pt x="1554" y="138"/>
                    </a:lnTo>
                    <a:lnTo>
                      <a:pt x="1558" y="144"/>
                    </a:lnTo>
                    <a:lnTo>
                      <a:pt x="1560" y="148"/>
                    </a:lnTo>
                    <a:lnTo>
                      <a:pt x="1562" y="146"/>
                    </a:lnTo>
                    <a:lnTo>
                      <a:pt x="1564" y="144"/>
                    </a:lnTo>
                    <a:lnTo>
                      <a:pt x="1568" y="134"/>
                    </a:lnTo>
                    <a:lnTo>
                      <a:pt x="1568" y="134"/>
                    </a:lnTo>
                    <a:lnTo>
                      <a:pt x="1572" y="106"/>
                    </a:lnTo>
                    <a:lnTo>
                      <a:pt x="1576" y="86"/>
                    </a:lnTo>
                    <a:lnTo>
                      <a:pt x="1578" y="78"/>
                    </a:lnTo>
                    <a:lnTo>
                      <a:pt x="1582" y="70"/>
                    </a:lnTo>
                    <a:lnTo>
                      <a:pt x="1586" y="62"/>
                    </a:lnTo>
                    <a:lnTo>
                      <a:pt x="1594" y="54"/>
                    </a:lnTo>
                    <a:lnTo>
                      <a:pt x="1594" y="54"/>
                    </a:lnTo>
                    <a:lnTo>
                      <a:pt x="1602" y="48"/>
                    </a:lnTo>
                    <a:lnTo>
                      <a:pt x="1610" y="46"/>
                    </a:lnTo>
                    <a:lnTo>
                      <a:pt x="1618" y="44"/>
                    </a:lnTo>
                    <a:lnTo>
                      <a:pt x="1624" y="46"/>
                    </a:lnTo>
                    <a:lnTo>
                      <a:pt x="1630" y="48"/>
                    </a:lnTo>
                    <a:lnTo>
                      <a:pt x="1636" y="50"/>
                    </a:lnTo>
                    <a:lnTo>
                      <a:pt x="1640" y="56"/>
                    </a:lnTo>
                    <a:lnTo>
                      <a:pt x="1642" y="60"/>
                    </a:lnTo>
                    <a:lnTo>
                      <a:pt x="1642" y="60"/>
                    </a:lnTo>
                    <a:lnTo>
                      <a:pt x="1646" y="66"/>
                    </a:lnTo>
                    <a:lnTo>
                      <a:pt x="1654" y="72"/>
                    </a:lnTo>
                    <a:lnTo>
                      <a:pt x="1678" y="82"/>
                    </a:lnTo>
                    <a:lnTo>
                      <a:pt x="1688" y="88"/>
                    </a:lnTo>
                    <a:lnTo>
                      <a:pt x="1696" y="94"/>
                    </a:lnTo>
                    <a:lnTo>
                      <a:pt x="1698" y="98"/>
                    </a:lnTo>
                    <a:lnTo>
                      <a:pt x="1700" y="100"/>
                    </a:lnTo>
                    <a:lnTo>
                      <a:pt x="1698" y="104"/>
                    </a:lnTo>
                    <a:lnTo>
                      <a:pt x="1696" y="108"/>
                    </a:lnTo>
                    <a:lnTo>
                      <a:pt x="1696" y="108"/>
                    </a:lnTo>
                    <a:lnTo>
                      <a:pt x="1678" y="122"/>
                    </a:lnTo>
                    <a:lnTo>
                      <a:pt x="1658" y="136"/>
                    </a:lnTo>
                    <a:lnTo>
                      <a:pt x="1640" y="148"/>
                    </a:lnTo>
                    <a:lnTo>
                      <a:pt x="1624" y="154"/>
                    </a:lnTo>
                    <a:lnTo>
                      <a:pt x="1624" y="154"/>
                    </a:lnTo>
                    <a:lnTo>
                      <a:pt x="1614" y="154"/>
                    </a:lnTo>
                    <a:lnTo>
                      <a:pt x="1604" y="152"/>
                    </a:lnTo>
                    <a:lnTo>
                      <a:pt x="1600" y="152"/>
                    </a:lnTo>
                    <a:lnTo>
                      <a:pt x="1598" y="152"/>
                    </a:lnTo>
                    <a:lnTo>
                      <a:pt x="1598" y="156"/>
                    </a:lnTo>
                    <a:lnTo>
                      <a:pt x="1600" y="160"/>
                    </a:lnTo>
                    <a:lnTo>
                      <a:pt x="1600" y="160"/>
                    </a:lnTo>
                    <a:lnTo>
                      <a:pt x="1628" y="190"/>
                    </a:lnTo>
                    <a:lnTo>
                      <a:pt x="1646" y="212"/>
                    </a:lnTo>
                    <a:lnTo>
                      <a:pt x="1646" y="212"/>
                    </a:lnTo>
                    <a:lnTo>
                      <a:pt x="1624" y="204"/>
                    </a:lnTo>
                    <a:lnTo>
                      <a:pt x="1596" y="194"/>
                    </a:lnTo>
                    <a:lnTo>
                      <a:pt x="1596" y="194"/>
                    </a:lnTo>
                    <a:lnTo>
                      <a:pt x="1572" y="178"/>
                    </a:lnTo>
                    <a:lnTo>
                      <a:pt x="1558" y="168"/>
                    </a:lnTo>
                    <a:lnTo>
                      <a:pt x="1548" y="164"/>
                    </a:lnTo>
                    <a:lnTo>
                      <a:pt x="1548" y="164"/>
                    </a:lnTo>
                    <a:lnTo>
                      <a:pt x="1528" y="158"/>
                    </a:lnTo>
                    <a:lnTo>
                      <a:pt x="1516" y="158"/>
                    </a:lnTo>
                    <a:lnTo>
                      <a:pt x="1510" y="160"/>
                    </a:lnTo>
                    <a:lnTo>
                      <a:pt x="1504" y="162"/>
                    </a:lnTo>
                    <a:lnTo>
                      <a:pt x="1504" y="162"/>
                    </a:lnTo>
                    <a:lnTo>
                      <a:pt x="1494" y="172"/>
                    </a:lnTo>
                    <a:lnTo>
                      <a:pt x="1480" y="188"/>
                    </a:lnTo>
                    <a:lnTo>
                      <a:pt x="1468" y="206"/>
                    </a:lnTo>
                    <a:lnTo>
                      <a:pt x="1458" y="222"/>
                    </a:lnTo>
                    <a:lnTo>
                      <a:pt x="1458" y="222"/>
                    </a:lnTo>
                    <a:lnTo>
                      <a:pt x="1444" y="252"/>
                    </a:lnTo>
                    <a:lnTo>
                      <a:pt x="1438" y="264"/>
                    </a:lnTo>
                    <a:lnTo>
                      <a:pt x="1436" y="274"/>
                    </a:lnTo>
                    <a:lnTo>
                      <a:pt x="1436" y="274"/>
                    </a:lnTo>
                    <a:lnTo>
                      <a:pt x="1434" y="286"/>
                    </a:lnTo>
                    <a:lnTo>
                      <a:pt x="1432" y="300"/>
                    </a:lnTo>
                    <a:lnTo>
                      <a:pt x="1426" y="330"/>
                    </a:lnTo>
                    <a:lnTo>
                      <a:pt x="1426" y="330"/>
                    </a:lnTo>
                    <a:lnTo>
                      <a:pt x="1418" y="360"/>
                    </a:lnTo>
                    <a:lnTo>
                      <a:pt x="1414" y="374"/>
                    </a:lnTo>
                    <a:lnTo>
                      <a:pt x="1410" y="380"/>
                    </a:lnTo>
                    <a:lnTo>
                      <a:pt x="1408" y="384"/>
                    </a:lnTo>
                    <a:lnTo>
                      <a:pt x="1408" y="384"/>
                    </a:lnTo>
                    <a:lnTo>
                      <a:pt x="1400" y="388"/>
                    </a:lnTo>
                    <a:lnTo>
                      <a:pt x="1394" y="388"/>
                    </a:lnTo>
                    <a:lnTo>
                      <a:pt x="1388" y="386"/>
                    </a:lnTo>
                    <a:lnTo>
                      <a:pt x="1380" y="382"/>
                    </a:lnTo>
                    <a:lnTo>
                      <a:pt x="1380" y="382"/>
                    </a:lnTo>
                    <a:lnTo>
                      <a:pt x="1366" y="378"/>
                    </a:lnTo>
                    <a:lnTo>
                      <a:pt x="1350" y="378"/>
                    </a:lnTo>
                    <a:lnTo>
                      <a:pt x="1334" y="378"/>
                    </a:lnTo>
                    <a:lnTo>
                      <a:pt x="1322" y="378"/>
                    </a:lnTo>
                    <a:lnTo>
                      <a:pt x="1322" y="378"/>
                    </a:lnTo>
                    <a:lnTo>
                      <a:pt x="1310" y="380"/>
                    </a:lnTo>
                    <a:lnTo>
                      <a:pt x="1294" y="380"/>
                    </a:lnTo>
                    <a:lnTo>
                      <a:pt x="1274" y="378"/>
                    </a:lnTo>
                    <a:lnTo>
                      <a:pt x="1274" y="378"/>
                    </a:lnTo>
                    <a:lnTo>
                      <a:pt x="1264" y="340"/>
                    </a:lnTo>
                    <a:lnTo>
                      <a:pt x="1258" y="310"/>
                    </a:lnTo>
                    <a:lnTo>
                      <a:pt x="1252" y="296"/>
                    </a:lnTo>
                    <a:lnTo>
                      <a:pt x="1252" y="296"/>
                    </a:lnTo>
                    <a:lnTo>
                      <a:pt x="1250" y="288"/>
                    </a:lnTo>
                    <a:lnTo>
                      <a:pt x="1244" y="278"/>
                    </a:lnTo>
                    <a:lnTo>
                      <a:pt x="1238" y="260"/>
                    </a:lnTo>
                    <a:lnTo>
                      <a:pt x="1238" y="260"/>
                    </a:lnTo>
                    <a:lnTo>
                      <a:pt x="1236" y="254"/>
                    </a:lnTo>
                    <a:lnTo>
                      <a:pt x="1230" y="248"/>
                    </a:lnTo>
                    <a:lnTo>
                      <a:pt x="1228" y="248"/>
                    </a:lnTo>
                    <a:lnTo>
                      <a:pt x="1224" y="248"/>
                    </a:lnTo>
                    <a:lnTo>
                      <a:pt x="1220" y="250"/>
                    </a:lnTo>
                    <a:lnTo>
                      <a:pt x="1216" y="256"/>
                    </a:lnTo>
                    <a:lnTo>
                      <a:pt x="1216" y="256"/>
                    </a:lnTo>
                    <a:lnTo>
                      <a:pt x="1188" y="296"/>
                    </a:lnTo>
                    <a:lnTo>
                      <a:pt x="1168" y="330"/>
                    </a:lnTo>
                    <a:lnTo>
                      <a:pt x="1168" y="330"/>
                    </a:lnTo>
                    <a:lnTo>
                      <a:pt x="1154" y="348"/>
                    </a:lnTo>
                    <a:lnTo>
                      <a:pt x="1148" y="356"/>
                    </a:lnTo>
                    <a:lnTo>
                      <a:pt x="1148" y="360"/>
                    </a:lnTo>
                    <a:lnTo>
                      <a:pt x="1148" y="362"/>
                    </a:lnTo>
                    <a:lnTo>
                      <a:pt x="1148" y="362"/>
                    </a:lnTo>
                    <a:lnTo>
                      <a:pt x="1156" y="368"/>
                    </a:lnTo>
                    <a:lnTo>
                      <a:pt x="1162" y="370"/>
                    </a:lnTo>
                    <a:lnTo>
                      <a:pt x="1170" y="372"/>
                    </a:lnTo>
                    <a:lnTo>
                      <a:pt x="1170" y="372"/>
                    </a:lnTo>
                    <a:lnTo>
                      <a:pt x="1178" y="376"/>
                    </a:lnTo>
                    <a:lnTo>
                      <a:pt x="1186" y="382"/>
                    </a:lnTo>
                    <a:lnTo>
                      <a:pt x="1188" y="386"/>
                    </a:lnTo>
                    <a:lnTo>
                      <a:pt x="1188" y="388"/>
                    </a:lnTo>
                    <a:lnTo>
                      <a:pt x="1184" y="392"/>
                    </a:lnTo>
                    <a:lnTo>
                      <a:pt x="1180" y="394"/>
                    </a:lnTo>
                    <a:lnTo>
                      <a:pt x="1180" y="394"/>
                    </a:lnTo>
                    <a:lnTo>
                      <a:pt x="1160" y="398"/>
                    </a:lnTo>
                    <a:lnTo>
                      <a:pt x="1132" y="404"/>
                    </a:lnTo>
                    <a:lnTo>
                      <a:pt x="1092" y="410"/>
                    </a:lnTo>
                    <a:lnTo>
                      <a:pt x="1092" y="410"/>
                    </a:lnTo>
                    <a:lnTo>
                      <a:pt x="1062" y="410"/>
                    </a:lnTo>
                    <a:lnTo>
                      <a:pt x="1046" y="410"/>
                    </a:lnTo>
                    <a:lnTo>
                      <a:pt x="1038" y="412"/>
                    </a:lnTo>
                    <a:lnTo>
                      <a:pt x="1038" y="412"/>
                    </a:lnTo>
                    <a:lnTo>
                      <a:pt x="1028" y="416"/>
                    </a:lnTo>
                    <a:lnTo>
                      <a:pt x="1024" y="418"/>
                    </a:lnTo>
                    <a:lnTo>
                      <a:pt x="1024" y="422"/>
                    </a:lnTo>
                    <a:lnTo>
                      <a:pt x="1024" y="422"/>
                    </a:lnTo>
                    <a:lnTo>
                      <a:pt x="1026" y="428"/>
                    </a:lnTo>
                    <a:lnTo>
                      <a:pt x="1028" y="434"/>
                    </a:lnTo>
                    <a:lnTo>
                      <a:pt x="1030" y="442"/>
                    </a:lnTo>
                    <a:lnTo>
                      <a:pt x="1032" y="448"/>
                    </a:lnTo>
                    <a:lnTo>
                      <a:pt x="1032" y="448"/>
                    </a:lnTo>
                    <a:lnTo>
                      <a:pt x="1030" y="456"/>
                    </a:lnTo>
                    <a:lnTo>
                      <a:pt x="1028" y="466"/>
                    </a:lnTo>
                    <a:lnTo>
                      <a:pt x="1024" y="472"/>
                    </a:lnTo>
                    <a:lnTo>
                      <a:pt x="1022" y="474"/>
                    </a:lnTo>
                    <a:lnTo>
                      <a:pt x="1020" y="472"/>
                    </a:lnTo>
                    <a:lnTo>
                      <a:pt x="1020" y="472"/>
                    </a:lnTo>
                    <a:lnTo>
                      <a:pt x="1006" y="462"/>
                    </a:lnTo>
                    <a:lnTo>
                      <a:pt x="1006" y="462"/>
                    </a:lnTo>
                    <a:lnTo>
                      <a:pt x="958" y="522"/>
                    </a:lnTo>
                    <a:lnTo>
                      <a:pt x="958" y="522"/>
                    </a:lnTo>
                    <a:lnTo>
                      <a:pt x="934" y="554"/>
                    </a:lnTo>
                    <a:lnTo>
                      <a:pt x="926" y="566"/>
                    </a:lnTo>
                    <a:lnTo>
                      <a:pt x="920" y="580"/>
                    </a:lnTo>
                    <a:lnTo>
                      <a:pt x="920" y="580"/>
                    </a:lnTo>
                    <a:lnTo>
                      <a:pt x="918" y="590"/>
                    </a:lnTo>
                    <a:lnTo>
                      <a:pt x="918" y="600"/>
                    </a:lnTo>
                    <a:lnTo>
                      <a:pt x="918" y="608"/>
                    </a:lnTo>
                    <a:lnTo>
                      <a:pt x="924" y="616"/>
                    </a:lnTo>
                    <a:lnTo>
                      <a:pt x="924" y="616"/>
                    </a:lnTo>
                    <a:lnTo>
                      <a:pt x="926" y="616"/>
                    </a:lnTo>
                    <a:lnTo>
                      <a:pt x="928" y="618"/>
                    </a:lnTo>
                    <a:lnTo>
                      <a:pt x="928" y="622"/>
                    </a:lnTo>
                    <a:lnTo>
                      <a:pt x="928" y="626"/>
                    </a:lnTo>
                    <a:lnTo>
                      <a:pt x="922" y="632"/>
                    </a:lnTo>
                    <a:lnTo>
                      <a:pt x="916" y="638"/>
                    </a:lnTo>
                    <a:lnTo>
                      <a:pt x="916" y="638"/>
                    </a:lnTo>
                    <a:lnTo>
                      <a:pt x="898" y="654"/>
                    </a:lnTo>
                    <a:lnTo>
                      <a:pt x="886" y="668"/>
                    </a:lnTo>
                    <a:lnTo>
                      <a:pt x="876" y="680"/>
                    </a:lnTo>
                    <a:lnTo>
                      <a:pt x="870" y="692"/>
                    </a:lnTo>
                    <a:lnTo>
                      <a:pt x="870" y="692"/>
                    </a:lnTo>
                    <a:lnTo>
                      <a:pt x="866" y="704"/>
                    </a:lnTo>
                    <a:lnTo>
                      <a:pt x="862" y="716"/>
                    </a:lnTo>
                    <a:lnTo>
                      <a:pt x="856" y="726"/>
                    </a:lnTo>
                    <a:lnTo>
                      <a:pt x="852" y="730"/>
                    </a:lnTo>
                    <a:lnTo>
                      <a:pt x="846" y="732"/>
                    </a:lnTo>
                    <a:lnTo>
                      <a:pt x="846" y="732"/>
                    </a:lnTo>
                    <a:lnTo>
                      <a:pt x="834" y="734"/>
                    </a:lnTo>
                    <a:lnTo>
                      <a:pt x="822" y="732"/>
                    </a:lnTo>
                    <a:lnTo>
                      <a:pt x="812" y="732"/>
                    </a:lnTo>
                    <a:lnTo>
                      <a:pt x="808" y="734"/>
                    </a:lnTo>
                    <a:lnTo>
                      <a:pt x="806" y="736"/>
                    </a:lnTo>
                    <a:lnTo>
                      <a:pt x="806" y="736"/>
                    </a:lnTo>
                    <a:lnTo>
                      <a:pt x="802" y="742"/>
                    </a:lnTo>
                    <a:lnTo>
                      <a:pt x="798" y="750"/>
                    </a:lnTo>
                    <a:lnTo>
                      <a:pt x="794" y="760"/>
                    </a:lnTo>
                    <a:lnTo>
                      <a:pt x="794" y="770"/>
                    </a:lnTo>
                    <a:lnTo>
                      <a:pt x="794" y="770"/>
                    </a:lnTo>
                    <a:lnTo>
                      <a:pt x="796" y="818"/>
                    </a:lnTo>
                    <a:lnTo>
                      <a:pt x="798" y="844"/>
                    </a:lnTo>
                    <a:lnTo>
                      <a:pt x="798" y="858"/>
                    </a:lnTo>
                    <a:lnTo>
                      <a:pt x="798" y="858"/>
                    </a:lnTo>
                    <a:lnTo>
                      <a:pt x="784" y="880"/>
                    </a:lnTo>
                    <a:lnTo>
                      <a:pt x="752" y="920"/>
                    </a:lnTo>
                    <a:lnTo>
                      <a:pt x="708" y="978"/>
                    </a:lnTo>
                    <a:lnTo>
                      <a:pt x="708" y="978"/>
                    </a:lnTo>
                    <a:lnTo>
                      <a:pt x="716" y="986"/>
                    </a:lnTo>
                    <a:lnTo>
                      <a:pt x="730" y="1002"/>
                    </a:lnTo>
                    <a:lnTo>
                      <a:pt x="744" y="1020"/>
                    </a:lnTo>
                    <a:lnTo>
                      <a:pt x="748" y="1028"/>
                    </a:lnTo>
                    <a:lnTo>
                      <a:pt x="748" y="1034"/>
                    </a:lnTo>
                    <a:lnTo>
                      <a:pt x="748" y="1034"/>
                    </a:lnTo>
                    <a:lnTo>
                      <a:pt x="740" y="1052"/>
                    </a:lnTo>
                    <a:lnTo>
                      <a:pt x="734" y="1060"/>
                    </a:lnTo>
                    <a:lnTo>
                      <a:pt x="730" y="1062"/>
                    </a:lnTo>
                    <a:lnTo>
                      <a:pt x="724" y="1064"/>
                    </a:lnTo>
                    <a:lnTo>
                      <a:pt x="724" y="1064"/>
                    </a:lnTo>
                    <a:lnTo>
                      <a:pt x="706" y="1064"/>
                    </a:lnTo>
                    <a:lnTo>
                      <a:pt x="682" y="1062"/>
                    </a:lnTo>
                    <a:lnTo>
                      <a:pt x="654" y="1060"/>
                    </a:lnTo>
                    <a:lnTo>
                      <a:pt x="574" y="1176"/>
                    </a:lnTo>
                    <a:lnTo>
                      <a:pt x="574" y="1176"/>
                    </a:lnTo>
                    <a:lnTo>
                      <a:pt x="570" y="1182"/>
                    </a:lnTo>
                    <a:lnTo>
                      <a:pt x="568" y="1188"/>
                    </a:lnTo>
                    <a:lnTo>
                      <a:pt x="568" y="1188"/>
                    </a:lnTo>
                    <a:lnTo>
                      <a:pt x="568" y="1190"/>
                    </a:lnTo>
                    <a:lnTo>
                      <a:pt x="568" y="1190"/>
                    </a:lnTo>
                    <a:lnTo>
                      <a:pt x="590" y="1192"/>
                    </a:lnTo>
                    <a:lnTo>
                      <a:pt x="590" y="1192"/>
                    </a:lnTo>
                    <a:lnTo>
                      <a:pt x="590" y="1202"/>
                    </a:lnTo>
                    <a:lnTo>
                      <a:pt x="590" y="1212"/>
                    </a:lnTo>
                    <a:lnTo>
                      <a:pt x="584" y="1222"/>
                    </a:lnTo>
                    <a:lnTo>
                      <a:pt x="584" y="1222"/>
                    </a:lnTo>
                    <a:lnTo>
                      <a:pt x="576" y="1238"/>
                    </a:lnTo>
                    <a:lnTo>
                      <a:pt x="568" y="1256"/>
                    </a:lnTo>
                    <a:lnTo>
                      <a:pt x="562" y="1276"/>
                    </a:lnTo>
                    <a:lnTo>
                      <a:pt x="560" y="1290"/>
                    </a:lnTo>
                    <a:lnTo>
                      <a:pt x="560" y="1290"/>
                    </a:lnTo>
                    <a:lnTo>
                      <a:pt x="560" y="1328"/>
                    </a:lnTo>
                    <a:lnTo>
                      <a:pt x="564" y="1370"/>
                    </a:lnTo>
                    <a:lnTo>
                      <a:pt x="564" y="1370"/>
                    </a:lnTo>
                    <a:lnTo>
                      <a:pt x="570" y="1418"/>
                    </a:lnTo>
                    <a:lnTo>
                      <a:pt x="572" y="1448"/>
                    </a:lnTo>
                    <a:lnTo>
                      <a:pt x="574" y="1468"/>
                    </a:lnTo>
                    <a:lnTo>
                      <a:pt x="574" y="1468"/>
                    </a:lnTo>
                    <a:lnTo>
                      <a:pt x="570" y="1484"/>
                    </a:lnTo>
                    <a:lnTo>
                      <a:pt x="566" y="1500"/>
                    </a:lnTo>
                    <a:lnTo>
                      <a:pt x="556" y="1532"/>
                    </a:lnTo>
                    <a:lnTo>
                      <a:pt x="556" y="1532"/>
                    </a:lnTo>
                    <a:lnTo>
                      <a:pt x="552" y="1554"/>
                    </a:lnTo>
                    <a:lnTo>
                      <a:pt x="550" y="1568"/>
                    </a:lnTo>
                    <a:lnTo>
                      <a:pt x="550" y="1586"/>
                    </a:lnTo>
                    <a:lnTo>
                      <a:pt x="550" y="1586"/>
                    </a:lnTo>
                    <a:lnTo>
                      <a:pt x="554" y="1610"/>
                    </a:lnTo>
                    <a:lnTo>
                      <a:pt x="558" y="1630"/>
                    </a:lnTo>
                    <a:lnTo>
                      <a:pt x="560" y="1648"/>
                    </a:lnTo>
                    <a:lnTo>
                      <a:pt x="558" y="1656"/>
                    </a:lnTo>
                    <a:lnTo>
                      <a:pt x="556" y="1662"/>
                    </a:lnTo>
                    <a:lnTo>
                      <a:pt x="556" y="1662"/>
                    </a:lnTo>
                    <a:lnTo>
                      <a:pt x="548" y="1676"/>
                    </a:lnTo>
                    <a:lnTo>
                      <a:pt x="538" y="1692"/>
                    </a:lnTo>
                    <a:lnTo>
                      <a:pt x="526" y="1706"/>
                    </a:lnTo>
                    <a:lnTo>
                      <a:pt x="518" y="1712"/>
                    </a:lnTo>
                    <a:lnTo>
                      <a:pt x="512" y="1716"/>
                    </a:lnTo>
                    <a:lnTo>
                      <a:pt x="512" y="1716"/>
                    </a:lnTo>
                    <a:lnTo>
                      <a:pt x="502" y="1720"/>
                    </a:lnTo>
                    <a:lnTo>
                      <a:pt x="492" y="1726"/>
                    </a:lnTo>
                    <a:lnTo>
                      <a:pt x="486" y="1734"/>
                    </a:lnTo>
                    <a:lnTo>
                      <a:pt x="480" y="1742"/>
                    </a:lnTo>
                    <a:lnTo>
                      <a:pt x="480" y="1742"/>
                    </a:lnTo>
                    <a:lnTo>
                      <a:pt x="474" y="1752"/>
                    </a:lnTo>
                    <a:lnTo>
                      <a:pt x="470" y="1760"/>
                    </a:lnTo>
                    <a:lnTo>
                      <a:pt x="468" y="1770"/>
                    </a:lnTo>
                    <a:lnTo>
                      <a:pt x="468" y="1780"/>
                    </a:lnTo>
                    <a:lnTo>
                      <a:pt x="468" y="1780"/>
                    </a:lnTo>
                    <a:lnTo>
                      <a:pt x="468" y="1802"/>
                    </a:lnTo>
                    <a:lnTo>
                      <a:pt x="468" y="1818"/>
                    </a:lnTo>
                    <a:lnTo>
                      <a:pt x="468" y="1818"/>
                    </a:lnTo>
                    <a:lnTo>
                      <a:pt x="468" y="1842"/>
                    </a:lnTo>
                    <a:lnTo>
                      <a:pt x="466" y="1858"/>
                    </a:lnTo>
                    <a:lnTo>
                      <a:pt x="454" y="1854"/>
                    </a:lnTo>
                    <a:close/>
                  </a:path>
                </a:pathLst>
              </a:custGeom>
              <a:solidFill>
                <a:schemeClr val="accent5">
                  <a:lumMod val="60000"/>
                  <a:lumOff val="40000"/>
                </a:schemeClr>
              </a:solidFill>
              <a:ln w="6350" cap="rnd" cmpd="sng">
                <a:no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35">
                <a:extLst>
                  <a:ext uri="{FF2B5EF4-FFF2-40B4-BE49-F238E27FC236}">
                    <a16:creationId xmlns:a16="http://schemas.microsoft.com/office/drawing/2014/main" id="{9DED6606-68C2-EF4C-8CE1-9E73854774D3}"/>
                  </a:ext>
                </a:extLst>
              </p:cNvPr>
              <p:cNvSpPr>
                <a:spLocks/>
              </p:cNvSpPr>
              <p:nvPr/>
            </p:nvSpPr>
            <p:spPr bwMode="auto">
              <a:xfrm>
                <a:off x="3839403" y="3360065"/>
                <a:ext cx="183088" cy="346733"/>
              </a:xfrm>
              <a:custGeom>
                <a:avLst/>
                <a:gdLst/>
                <a:ahLst/>
                <a:cxnLst>
                  <a:cxn ang="0">
                    <a:pos x="92" y="428"/>
                  </a:cxn>
                  <a:cxn ang="0">
                    <a:pos x="88" y="408"/>
                  </a:cxn>
                  <a:cxn ang="0">
                    <a:pos x="90" y="372"/>
                  </a:cxn>
                  <a:cxn ang="0">
                    <a:pos x="94" y="360"/>
                  </a:cxn>
                  <a:cxn ang="0">
                    <a:pos x="110" y="326"/>
                  </a:cxn>
                  <a:cxn ang="0">
                    <a:pos x="128" y="302"/>
                  </a:cxn>
                  <a:cxn ang="0">
                    <a:pos x="140" y="290"/>
                  </a:cxn>
                  <a:cxn ang="0">
                    <a:pos x="154" y="274"/>
                  </a:cxn>
                  <a:cxn ang="0">
                    <a:pos x="164" y="252"/>
                  </a:cxn>
                  <a:cxn ang="0">
                    <a:pos x="174" y="238"/>
                  </a:cxn>
                  <a:cxn ang="0">
                    <a:pos x="190" y="224"/>
                  </a:cxn>
                  <a:cxn ang="0">
                    <a:pos x="204" y="210"/>
                  </a:cxn>
                  <a:cxn ang="0">
                    <a:pos x="210" y="200"/>
                  </a:cxn>
                  <a:cxn ang="0">
                    <a:pos x="216" y="188"/>
                  </a:cxn>
                  <a:cxn ang="0">
                    <a:pos x="212" y="182"/>
                  </a:cxn>
                  <a:cxn ang="0">
                    <a:pos x="204" y="172"/>
                  </a:cxn>
                  <a:cxn ang="0">
                    <a:pos x="196" y="156"/>
                  </a:cxn>
                  <a:cxn ang="0">
                    <a:pos x="190" y="126"/>
                  </a:cxn>
                  <a:cxn ang="0">
                    <a:pos x="188" y="100"/>
                  </a:cxn>
                  <a:cxn ang="0">
                    <a:pos x="192" y="82"/>
                  </a:cxn>
                  <a:cxn ang="0">
                    <a:pos x="196" y="74"/>
                  </a:cxn>
                  <a:cxn ang="0">
                    <a:pos x="196" y="78"/>
                  </a:cxn>
                  <a:cxn ang="0">
                    <a:pos x="208" y="52"/>
                  </a:cxn>
                  <a:cxn ang="0">
                    <a:pos x="218" y="30"/>
                  </a:cxn>
                  <a:cxn ang="0">
                    <a:pos x="226" y="12"/>
                  </a:cxn>
                  <a:cxn ang="0">
                    <a:pos x="222" y="6"/>
                  </a:cxn>
                  <a:cxn ang="0">
                    <a:pos x="218" y="4"/>
                  </a:cxn>
                  <a:cxn ang="0">
                    <a:pos x="202" y="0"/>
                  </a:cxn>
                  <a:cxn ang="0">
                    <a:pos x="180" y="6"/>
                  </a:cxn>
                  <a:cxn ang="0">
                    <a:pos x="162" y="18"/>
                  </a:cxn>
                  <a:cxn ang="0">
                    <a:pos x="138" y="32"/>
                  </a:cxn>
                  <a:cxn ang="0">
                    <a:pos x="82" y="52"/>
                  </a:cxn>
                  <a:cxn ang="0">
                    <a:pos x="80" y="66"/>
                  </a:cxn>
                  <a:cxn ang="0">
                    <a:pos x="66" y="96"/>
                  </a:cxn>
                  <a:cxn ang="0">
                    <a:pos x="60" y="104"/>
                  </a:cxn>
                  <a:cxn ang="0">
                    <a:pos x="32" y="132"/>
                  </a:cxn>
                  <a:cxn ang="0">
                    <a:pos x="6" y="156"/>
                  </a:cxn>
                  <a:cxn ang="0">
                    <a:pos x="4" y="164"/>
                  </a:cxn>
                  <a:cxn ang="0">
                    <a:pos x="4" y="180"/>
                  </a:cxn>
                  <a:cxn ang="0">
                    <a:pos x="14" y="216"/>
                  </a:cxn>
                  <a:cxn ang="0">
                    <a:pos x="14" y="232"/>
                  </a:cxn>
                  <a:cxn ang="0">
                    <a:pos x="14" y="240"/>
                  </a:cxn>
                  <a:cxn ang="0">
                    <a:pos x="4" y="260"/>
                  </a:cxn>
                  <a:cxn ang="0">
                    <a:pos x="0" y="272"/>
                  </a:cxn>
                  <a:cxn ang="0">
                    <a:pos x="4" y="284"/>
                  </a:cxn>
                  <a:cxn ang="0">
                    <a:pos x="8" y="290"/>
                  </a:cxn>
                  <a:cxn ang="0">
                    <a:pos x="26" y="304"/>
                  </a:cxn>
                  <a:cxn ang="0">
                    <a:pos x="34" y="316"/>
                  </a:cxn>
                  <a:cxn ang="0">
                    <a:pos x="36" y="332"/>
                  </a:cxn>
                  <a:cxn ang="0">
                    <a:pos x="34" y="354"/>
                  </a:cxn>
                  <a:cxn ang="0">
                    <a:pos x="38" y="402"/>
                  </a:cxn>
                </a:cxnLst>
                <a:rect l="0" t="0" r="r" b="b"/>
                <a:pathLst>
                  <a:path w="226" h="428">
                    <a:moveTo>
                      <a:pt x="92" y="428"/>
                    </a:moveTo>
                    <a:lnTo>
                      <a:pt x="92" y="428"/>
                    </a:lnTo>
                    <a:lnTo>
                      <a:pt x="90" y="420"/>
                    </a:lnTo>
                    <a:lnTo>
                      <a:pt x="88" y="408"/>
                    </a:lnTo>
                    <a:lnTo>
                      <a:pt x="88" y="392"/>
                    </a:lnTo>
                    <a:lnTo>
                      <a:pt x="90" y="372"/>
                    </a:lnTo>
                    <a:lnTo>
                      <a:pt x="90" y="372"/>
                    </a:lnTo>
                    <a:lnTo>
                      <a:pt x="94" y="360"/>
                    </a:lnTo>
                    <a:lnTo>
                      <a:pt x="98" y="348"/>
                    </a:lnTo>
                    <a:lnTo>
                      <a:pt x="110" y="326"/>
                    </a:lnTo>
                    <a:lnTo>
                      <a:pt x="122" y="308"/>
                    </a:lnTo>
                    <a:lnTo>
                      <a:pt x="128" y="302"/>
                    </a:lnTo>
                    <a:lnTo>
                      <a:pt x="128" y="302"/>
                    </a:lnTo>
                    <a:lnTo>
                      <a:pt x="140" y="290"/>
                    </a:lnTo>
                    <a:lnTo>
                      <a:pt x="154" y="274"/>
                    </a:lnTo>
                    <a:lnTo>
                      <a:pt x="154" y="274"/>
                    </a:lnTo>
                    <a:lnTo>
                      <a:pt x="160" y="262"/>
                    </a:lnTo>
                    <a:lnTo>
                      <a:pt x="164" y="252"/>
                    </a:lnTo>
                    <a:lnTo>
                      <a:pt x="174" y="238"/>
                    </a:lnTo>
                    <a:lnTo>
                      <a:pt x="174" y="238"/>
                    </a:lnTo>
                    <a:lnTo>
                      <a:pt x="184" y="228"/>
                    </a:lnTo>
                    <a:lnTo>
                      <a:pt x="190" y="224"/>
                    </a:lnTo>
                    <a:lnTo>
                      <a:pt x="196" y="218"/>
                    </a:lnTo>
                    <a:lnTo>
                      <a:pt x="204" y="210"/>
                    </a:lnTo>
                    <a:lnTo>
                      <a:pt x="204" y="210"/>
                    </a:lnTo>
                    <a:lnTo>
                      <a:pt x="210" y="200"/>
                    </a:lnTo>
                    <a:lnTo>
                      <a:pt x="214" y="194"/>
                    </a:lnTo>
                    <a:lnTo>
                      <a:pt x="216" y="188"/>
                    </a:lnTo>
                    <a:lnTo>
                      <a:pt x="212" y="182"/>
                    </a:lnTo>
                    <a:lnTo>
                      <a:pt x="212" y="182"/>
                    </a:lnTo>
                    <a:lnTo>
                      <a:pt x="208" y="176"/>
                    </a:lnTo>
                    <a:lnTo>
                      <a:pt x="204" y="172"/>
                    </a:lnTo>
                    <a:lnTo>
                      <a:pt x="200" y="168"/>
                    </a:lnTo>
                    <a:lnTo>
                      <a:pt x="196" y="156"/>
                    </a:lnTo>
                    <a:lnTo>
                      <a:pt x="196" y="156"/>
                    </a:lnTo>
                    <a:lnTo>
                      <a:pt x="190" y="126"/>
                    </a:lnTo>
                    <a:lnTo>
                      <a:pt x="188" y="100"/>
                    </a:lnTo>
                    <a:lnTo>
                      <a:pt x="188" y="100"/>
                    </a:lnTo>
                    <a:lnTo>
                      <a:pt x="190" y="90"/>
                    </a:lnTo>
                    <a:lnTo>
                      <a:pt x="192" y="82"/>
                    </a:lnTo>
                    <a:lnTo>
                      <a:pt x="196" y="74"/>
                    </a:lnTo>
                    <a:lnTo>
                      <a:pt x="196" y="74"/>
                    </a:lnTo>
                    <a:lnTo>
                      <a:pt x="196" y="76"/>
                    </a:lnTo>
                    <a:lnTo>
                      <a:pt x="196" y="78"/>
                    </a:lnTo>
                    <a:lnTo>
                      <a:pt x="200" y="72"/>
                    </a:lnTo>
                    <a:lnTo>
                      <a:pt x="208" y="52"/>
                    </a:lnTo>
                    <a:lnTo>
                      <a:pt x="208" y="52"/>
                    </a:lnTo>
                    <a:lnTo>
                      <a:pt x="218" y="30"/>
                    </a:lnTo>
                    <a:lnTo>
                      <a:pt x="224" y="16"/>
                    </a:lnTo>
                    <a:lnTo>
                      <a:pt x="226" y="12"/>
                    </a:lnTo>
                    <a:lnTo>
                      <a:pt x="226" y="10"/>
                    </a:lnTo>
                    <a:lnTo>
                      <a:pt x="222" y="6"/>
                    </a:lnTo>
                    <a:lnTo>
                      <a:pt x="218" y="4"/>
                    </a:lnTo>
                    <a:lnTo>
                      <a:pt x="218" y="4"/>
                    </a:lnTo>
                    <a:lnTo>
                      <a:pt x="206" y="0"/>
                    </a:lnTo>
                    <a:lnTo>
                      <a:pt x="202" y="0"/>
                    </a:lnTo>
                    <a:lnTo>
                      <a:pt x="194" y="0"/>
                    </a:lnTo>
                    <a:lnTo>
                      <a:pt x="180" y="6"/>
                    </a:lnTo>
                    <a:lnTo>
                      <a:pt x="162" y="18"/>
                    </a:lnTo>
                    <a:lnTo>
                      <a:pt x="162" y="18"/>
                    </a:lnTo>
                    <a:lnTo>
                      <a:pt x="150" y="26"/>
                    </a:lnTo>
                    <a:lnTo>
                      <a:pt x="138" y="32"/>
                    </a:lnTo>
                    <a:lnTo>
                      <a:pt x="110" y="44"/>
                    </a:lnTo>
                    <a:lnTo>
                      <a:pt x="82" y="52"/>
                    </a:lnTo>
                    <a:lnTo>
                      <a:pt x="82" y="52"/>
                    </a:lnTo>
                    <a:lnTo>
                      <a:pt x="80" y="66"/>
                    </a:lnTo>
                    <a:lnTo>
                      <a:pt x="74" y="80"/>
                    </a:lnTo>
                    <a:lnTo>
                      <a:pt x="66" y="96"/>
                    </a:lnTo>
                    <a:lnTo>
                      <a:pt x="66" y="96"/>
                    </a:lnTo>
                    <a:lnTo>
                      <a:pt x="60" y="104"/>
                    </a:lnTo>
                    <a:lnTo>
                      <a:pt x="52" y="114"/>
                    </a:lnTo>
                    <a:lnTo>
                      <a:pt x="32" y="132"/>
                    </a:lnTo>
                    <a:lnTo>
                      <a:pt x="14" y="148"/>
                    </a:lnTo>
                    <a:lnTo>
                      <a:pt x="6" y="156"/>
                    </a:lnTo>
                    <a:lnTo>
                      <a:pt x="4" y="164"/>
                    </a:lnTo>
                    <a:lnTo>
                      <a:pt x="4" y="164"/>
                    </a:lnTo>
                    <a:lnTo>
                      <a:pt x="4" y="172"/>
                    </a:lnTo>
                    <a:lnTo>
                      <a:pt x="4" y="180"/>
                    </a:lnTo>
                    <a:lnTo>
                      <a:pt x="8" y="198"/>
                    </a:lnTo>
                    <a:lnTo>
                      <a:pt x="14" y="216"/>
                    </a:lnTo>
                    <a:lnTo>
                      <a:pt x="14" y="226"/>
                    </a:lnTo>
                    <a:lnTo>
                      <a:pt x="14" y="232"/>
                    </a:lnTo>
                    <a:lnTo>
                      <a:pt x="14" y="232"/>
                    </a:lnTo>
                    <a:lnTo>
                      <a:pt x="14" y="240"/>
                    </a:lnTo>
                    <a:lnTo>
                      <a:pt x="10" y="248"/>
                    </a:lnTo>
                    <a:lnTo>
                      <a:pt x="4" y="260"/>
                    </a:lnTo>
                    <a:lnTo>
                      <a:pt x="2" y="266"/>
                    </a:lnTo>
                    <a:lnTo>
                      <a:pt x="0" y="272"/>
                    </a:lnTo>
                    <a:lnTo>
                      <a:pt x="0" y="278"/>
                    </a:lnTo>
                    <a:lnTo>
                      <a:pt x="4" y="284"/>
                    </a:lnTo>
                    <a:lnTo>
                      <a:pt x="4" y="284"/>
                    </a:lnTo>
                    <a:lnTo>
                      <a:pt x="8" y="290"/>
                    </a:lnTo>
                    <a:lnTo>
                      <a:pt x="14" y="296"/>
                    </a:lnTo>
                    <a:lnTo>
                      <a:pt x="26" y="304"/>
                    </a:lnTo>
                    <a:lnTo>
                      <a:pt x="30" y="310"/>
                    </a:lnTo>
                    <a:lnTo>
                      <a:pt x="34" y="316"/>
                    </a:lnTo>
                    <a:lnTo>
                      <a:pt x="36" y="324"/>
                    </a:lnTo>
                    <a:lnTo>
                      <a:pt x="36" y="332"/>
                    </a:lnTo>
                    <a:lnTo>
                      <a:pt x="36" y="332"/>
                    </a:lnTo>
                    <a:lnTo>
                      <a:pt x="34" y="354"/>
                    </a:lnTo>
                    <a:lnTo>
                      <a:pt x="34" y="376"/>
                    </a:lnTo>
                    <a:lnTo>
                      <a:pt x="38" y="402"/>
                    </a:lnTo>
                    <a:lnTo>
                      <a:pt x="92" y="428"/>
                    </a:lnTo>
                    <a:close/>
                  </a:path>
                </a:pathLst>
              </a:custGeom>
              <a:solidFill>
                <a:schemeClr val="accent5"/>
              </a:solidFill>
              <a:ln w="6350" cap="rnd" cmpd="sng">
                <a:no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2">
                      <a:lumMod val="90000"/>
                    </a:schemeClr>
                  </a:solidFill>
                  <a:effectLst/>
                  <a:uLnTx/>
                  <a:uFillTx/>
                  <a:latin typeface="Calibri" panose="020F0502020204030204"/>
                  <a:ea typeface="+mn-ea"/>
                  <a:cs typeface="+mn-cs"/>
                </a:endParaRPr>
              </a:p>
            </p:txBody>
          </p:sp>
          <p:sp>
            <p:nvSpPr>
              <p:cNvPr id="72" name="Freeform 36">
                <a:extLst>
                  <a:ext uri="{FF2B5EF4-FFF2-40B4-BE49-F238E27FC236}">
                    <a16:creationId xmlns:a16="http://schemas.microsoft.com/office/drawing/2014/main" id="{DAADC672-F136-B04C-B872-E7771CD32584}"/>
                  </a:ext>
                </a:extLst>
              </p:cNvPr>
              <p:cNvSpPr>
                <a:spLocks/>
              </p:cNvSpPr>
              <p:nvPr/>
            </p:nvSpPr>
            <p:spPr bwMode="auto">
              <a:xfrm>
                <a:off x="3954440" y="3622546"/>
                <a:ext cx="38886" cy="55088"/>
              </a:xfrm>
              <a:custGeom>
                <a:avLst/>
                <a:gdLst/>
                <a:ahLst/>
                <a:cxnLst>
                  <a:cxn ang="0">
                    <a:pos x="0" y="22"/>
                  </a:cxn>
                  <a:cxn ang="0">
                    <a:pos x="0" y="22"/>
                  </a:cxn>
                  <a:cxn ang="0">
                    <a:pos x="2" y="30"/>
                  </a:cxn>
                  <a:cxn ang="0">
                    <a:pos x="4" y="44"/>
                  </a:cxn>
                  <a:cxn ang="0">
                    <a:pos x="8" y="58"/>
                  </a:cxn>
                  <a:cxn ang="0">
                    <a:pos x="12" y="62"/>
                  </a:cxn>
                  <a:cxn ang="0">
                    <a:pos x="18" y="64"/>
                  </a:cxn>
                  <a:cxn ang="0">
                    <a:pos x="18" y="64"/>
                  </a:cxn>
                  <a:cxn ang="0">
                    <a:pos x="26" y="68"/>
                  </a:cxn>
                  <a:cxn ang="0">
                    <a:pos x="32" y="68"/>
                  </a:cxn>
                  <a:cxn ang="0">
                    <a:pos x="38" y="66"/>
                  </a:cxn>
                  <a:cxn ang="0">
                    <a:pos x="42" y="60"/>
                  </a:cxn>
                  <a:cxn ang="0">
                    <a:pos x="42" y="60"/>
                  </a:cxn>
                  <a:cxn ang="0">
                    <a:pos x="48" y="50"/>
                  </a:cxn>
                  <a:cxn ang="0">
                    <a:pos x="48" y="44"/>
                  </a:cxn>
                  <a:cxn ang="0">
                    <a:pos x="46" y="38"/>
                  </a:cxn>
                  <a:cxn ang="0">
                    <a:pos x="46" y="38"/>
                  </a:cxn>
                  <a:cxn ang="0">
                    <a:pos x="42" y="24"/>
                  </a:cxn>
                  <a:cxn ang="0">
                    <a:pos x="40" y="16"/>
                  </a:cxn>
                  <a:cxn ang="0">
                    <a:pos x="36" y="8"/>
                  </a:cxn>
                  <a:cxn ang="0">
                    <a:pos x="36" y="8"/>
                  </a:cxn>
                  <a:cxn ang="0">
                    <a:pos x="32" y="4"/>
                  </a:cxn>
                  <a:cxn ang="0">
                    <a:pos x="26" y="2"/>
                  </a:cxn>
                  <a:cxn ang="0">
                    <a:pos x="20" y="0"/>
                  </a:cxn>
                  <a:cxn ang="0">
                    <a:pos x="14" y="2"/>
                  </a:cxn>
                  <a:cxn ang="0">
                    <a:pos x="10" y="4"/>
                  </a:cxn>
                  <a:cxn ang="0">
                    <a:pos x="4" y="8"/>
                  </a:cxn>
                  <a:cxn ang="0">
                    <a:pos x="2" y="14"/>
                  </a:cxn>
                  <a:cxn ang="0">
                    <a:pos x="0" y="22"/>
                  </a:cxn>
                  <a:cxn ang="0">
                    <a:pos x="0" y="22"/>
                  </a:cxn>
                </a:cxnLst>
                <a:rect l="0" t="0" r="r" b="b"/>
                <a:pathLst>
                  <a:path w="48" h="68">
                    <a:moveTo>
                      <a:pt x="0" y="22"/>
                    </a:moveTo>
                    <a:lnTo>
                      <a:pt x="0" y="22"/>
                    </a:lnTo>
                    <a:lnTo>
                      <a:pt x="2" y="30"/>
                    </a:lnTo>
                    <a:lnTo>
                      <a:pt x="4" y="44"/>
                    </a:lnTo>
                    <a:lnTo>
                      <a:pt x="8" y="58"/>
                    </a:lnTo>
                    <a:lnTo>
                      <a:pt x="12" y="62"/>
                    </a:lnTo>
                    <a:lnTo>
                      <a:pt x="18" y="64"/>
                    </a:lnTo>
                    <a:lnTo>
                      <a:pt x="18" y="64"/>
                    </a:lnTo>
                    <a:lnTo>
                      <a:pt x="26" y="68"/>
                    </a:lnTo>
                    <a:lnTo>
                      <a:pt x="32" y="68"/>
                    </a:lnTo>
                    <a:lnTo>
                      <a:pt x="38" y="66"/>
                    </a:lnTo>
                    <a:lnTo>
                      <a:pt x="42" y="60"/>
                    </a:lnTo>
                    <a:lnTo>
                      <a:pt x="42" y="60"/>
                    </a:lnTo>
                    <a:lnTo>
                      <a:pt x="48" y="50"/>
                    </a:lnTo>
                    <a:lnTo>
                      <a:pt x="48" y="44"/>
                    </a:lnTo>
                    <a:lnTo>
                      <a:pt x="46" y="38"/>
                    </a:lnTo>
                    <a:lnTo>
                      <a:pt x="46" y="38"/>
                    </a:lnTo>
                    <a:lnTo>
                      <a:pt x="42" y="24"/>
                    </a:lnTo>
                    <a:lnTo>
                      <a:pt x="40" y="16"/>
                    </a:lnTo>
                    <a:lnTo>
                      <a:pt x="36" y="8"/>
                    </a:lnTo>
                    <a:lnTo>
                      <a:pt x="36" y="8"/>
                    </a:lnTo>
                    <a:lnTo>
                      <a:pt x="32" y="4"/>
                    </a:lnTo>
                    <a:lnTo>
                      <a:pt x="26" y="2"/>
                    </a:lnTo>
                    <a:lnTo>
                      <a:pt x="20" y="0"/>
                    </a:lnTo>
                    <a:lnTo>
                      <a:pt x="14" y="2"/>
                    </a:lnTo>
                    <a:lnTo>
                      <a:pt x="10" y="4"/>
                    </a:lnTo>
                    <a:lnTo>
                      <a:pt x="4" y="8"/>
                    </a:lnTo>
                    <a:lnTo>
                      <a:pt x="2" y="14"/>
                    </a:lnTo>
                    <a:lnTo>
                      <a:pt x="0" y="22"/>
                    </a:lnTo>
                    <a:lnTo>
                      <a:pt x="0" y="22"/>
                    </a:lnTo>
                    <a:close/>
                  </a:path>
                </a:pathLst>
              </a:custGeom>
              <a:solidFill>
                <a:schemeClr val="accent5"/>
              </a:solidFill>
              <a:ln w="6350" cap="rnd" cmpd="sng">
                <a:no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37">
                <a:extLst>
                  <a:ext uri="{FF2B5EF4-FFF2-40B4-BE49-F238E27FC236}">
                    <a16:creationId xmlns:a16="http://schemas.microsoft.com/office/drawing/2014/main" id="{F82F2127-BEAD-2749-BCC2-A8AEF17106E8}"/>
                  </a:ext>
                </a:extLst>
              </p:cNvPr>
              <p:cNvSpPr>
                <a:spLocks/>
              </p:cNvSpPr>
              <p:nvPr/>
            </p:nvSpPr>
            <p:spPr bwMode="auto">
              <a:xfrm>
                <a:off x="4040313" y="3565836"/>
                <a:ext cx="89113" cy="145823"/>
              </a:xfrm>
              <a:custGeom>
                <a:avLst/>
                <a:gdLst/>
                <a:ahLst/>
                <a:cxnLst>
                  <a:cxn ang="0">
                    <a:pos x="4" y="66"/>
                  </a:cxn>
                  <a:cxn ang="0">
                    <a:pos x="4" y="66"/>
                  </a:cxn>
                  <a:cxn ang="0">
                    <a:pos x="18" y="84"/>
                  </a:cxn>
                  <a:cxn ang="0">
                    <a:pos x="26" y="102"/>
                  </a:cxn>
                  <a:cxn ang="0">
                    <a:pos x="30" y="118"/>
                  </a:cxn>
                  <a:cxn ang="0">
                    <a:pos x="32" y="134"/>
                  </a:cxn>
                  <a:cxn ang="0">
                    <a:pos x="32" y="134"/>
                  </a:cxn>
                  <a:cxn ang="0">
                    <a:pos x="34" y="154"/>
                  </a:cxn>
                  <a:cxn ang="0">
                    <a:pos x="36" y="172"/>
                  </a:cxn>
                  <a:cxn ang="0">
                    <a:pos x="38" y="178"/>
                  </a:cxn>
                  <a:cxn ang="0">
                    <a:pos x="42" y="180"/>
                  </a:cxn>
                  <a:cxn ang="0">
                    <a:pos x="46" y="180"/>
                  </a:cxn>
                  <a:cxn ang="0">
                    <a:pos x="52" y="176"/>
                  </a:cxn>
                  <a:cxn ang="0">
                    <a:pos x="52" y="176"/>
                  </a:cxn>
                  <a:cxn ang="0">
                    <a:pos x="60" y="164"/>
                  </a:cxn>
                  <a:cxn ang="0">
                    <a:pos x="66" y="154"/>
                  </a:cxn>
                  <a:cxn ang="0">
                    <a:pos x="68" y="142"/>
                  </a:cxn>
                  <a:cxn ang="0">
                    <a:pos x="70" y="124"/>
                  </a:cxn>
                  <a:cxn ang="0">
                    <a:pos x="70" y="124"/>
                  </a:cxn>
                  <a:cxn ang="0">
                    <a:pos x="74" y="104"/>
                  </a:cxn>
                  <a:cxn ang="0">
                    <a:pos x="74" y="94"/>
                  </a:cxn>
                  <a:cxn ang="0">
                    <a:pos x="74" y="86"/>
                  </a:cxn>
                  <a:cxn ang="0">
                    <a:pos x="80" y="80"/>
                  </a:cxn>
                  <a:cxn ang="0">
                    <a:pos x="80" y="80"/>
                  </a:cxn>
                  <a:cxn ang="0">
                    <a:pos x="84" y="76"/>
                  </a:cxn>
                  <a:cxn ang="0">
                    <a:pos x="84" y="74"/>
                  </a:cxn>
                  <a:cxn ang="0">
                    <a:pos x="86" y="68"/>
                  </a:cxn>
                  <a:cxn ang="0">
                    <a:pos x="92" y="54"/>
                  </a:cxn>
                  <a:cxn ang="0">
                    <a:pos x="92" y="54"/>
                  </a:cxn>
                  <a:cxn ang="0">
                    <a:pos x="100" y="38"/>
                  </a:cxn>
                  <a:cxn ang="0">
                    <a:pos x="108" y="28"/>
                  </a:cxn>
                  <a:cxn ang="0">
                    <a:pos x="110" y="22"/>
                  </a:cxn>
                  <a:cxn ang="0">
                    <a:pos x="110" y="18"/>
                  </a:cxn>
                  <a:cxn ang="0">
                    <a:pos x="108" y="14"/>
                  </a:cxn>
                  <a:cxn ang="0">
                    <a:pos x="102" y="10"/>
                  </a:cxn>
                  <a:cxn ang="0">
                    <a:pos x="102" y="10"/>
                  </a:cxn>
                  <a:cxn ang="0">
                    <a:pos x="92" y="4"/>
                  </a:cxn>
                  <a:cxn ang="0">
                    <a:pos x="84" y="0"/>
                  </a:cxn>
                  <a:cxn ang="0">
                    <a:pos x="80" y="0"/>
                  </a:cxn>
                  <a:cxn ang="0">
                    <a:pos x="78" y="0"/>
                  </a:cxn>
                  <a:cxn ang="0">
                    <a:pos x="74" y="8"/>
                  </a:cxn>
                  <a:cxn ang="0">
                    <a:pos x="74" y="8"/>
                  </a:cxn>
                  <a:cxn ang="0">
                    <a:pos x="70" y="20"/>
                  </a:cxn>
                  <a:cxn ang="0">
                    <a:pos x="62" y="32"/>
                  </a:cxn>
                  <a:cxn ang="0">
                    <a:pos x="56" y="44"/>
                  </a:cxn>
                  <a:cxn ang="0">
                    <a:pos x="52" y="54"/>
                  </a:cxn>
                  <a:cxn ang="0">
                    <a:pos x="52" y="54"/>
                  </a:cxn>
                  <a:cxn ang="0">
                    <a:pos x="50" y="60"/>
                  </a:cxn>
                  <a:cxn ang="0">
                    <a:pos x="48" y="62"/>
                  </a:cxn>
                  <a:cxn ang="0">
                    <a:pos x="42" y="62"/>
                  </a:cxn>
                  <a:cxn ang="0">
                    <a:pos x="32" y="60"/>
                  </a:cxn>
                  <a:cxn ang="0">
                    <a:pos x="32" y="60"/>
                  </a:cxn>
                  <a:cxn ang="0">
                    <a:pos x="20" y="56"/>
                  </a:cxn>
                  <a:cxn ang="0">
                    <a:pos x="6" y="54"/>
                  </a:cxn>
                  <a:cxn ang="0">
                    <a:pos x="2" y="54"/>
                  </a:cxn>
                  <a:cxn ang="0">
                    <a:pos x="0" y="56"/>
                  </a:cxn>
                  <a:cxn ang="0">
                    <a:pos x="0" y="60"/>
                  </a:cxn>
                  <a:cxn ang="0">
                    <a:pos x="4" y="66"/>
                  </a:cxn>
                  <a:cxn ang="0">
                    <a:pos x="4" y="66"/>
                  </a:cxn>
                </a:cxnLst>
                <a:rect l="0" t="0" r="r" b="b"/>
                <a:pathLst>
                  <a:path w="110" h="180">
                    <a:moveTo>
                      <a:pt x="4" y="66"/>
                    </a:moveTo>
                    <a:lnTo>
                      <a:pt x="4" y="66"/>
                    </a:lnTo>
                    <a:lnTo>
                      <a:pt x="18" y="84"/>
                    </a:lnTo>
                    <a:lnTo>
                      <a:pt x="26" y="102"/>
                    </a:lnTo>
                    <a:lnTo>
                      <a:pt x="30" y="118"/>
                    </a:lnTo>
                    <a:lnTo>
                      <a:pt x="32" y="134"/>
                    </a:lnTo>
                    <a:lnTo>
                      <a:pt x="32" y="134"/>
                    </a:lnTo>
                    <a:lnTo>
                      <a:pt x="34" y="154"/>
                    </a:lnTo>
                    <a:lnTo>
                      <a:pt x="36" y="172"/>
                    </a:lnTo>
                    <a:lnTo>
                      <a:pt x="38" y="178"/>
                    </a:lnTo>
                    <a:lnTo>
                      <a:pt x="42" y="180"/>
                    </a:lnTo>
                    <a:lnTo>
                      <a:pt x="46" y="180"/>
                    </a:lnTo>
                    <a:lnTo>
                      <a:pt x="52" y="176"/>
                    </a:lnTo>
                    <a:lnTo>
                      <a:pt x="52" y="176"/>
                    </a:lnTo>
                    <a:lnTo>
                      <a:pt x="60" y="164"/>
                    </a:lnTo>
                    <a:lnTo>
                      <a:pt x="66" y="154"/>
                    </a:lnTo>
                    <a:lnTo>
                      <a:pt x="68" y="142"/>
                    </a:lnTo>
                    <a:lnTo>
                      <a:pt x="70" y="124"/>
                    </a:lnTo>
                    <a:lnTo>
                      <a:pt x="70" y="124"/>
                    </a:lnTo>
                    <a:lnTo>
                      <a:pt x="74" y="104"/>
                    </a:lnTo>
                    <a:lnTo>
                      <a:pt x="74" y="94"/>
                    </a:lnTo>
                    <a:lnTo>
                      <a:pt x="74" y="86"/>
                    </a:lnTo>
                    <a:lnTo>
                      <a:pt x="80" y="80"/>
                    </a:lnTo>
                    <a:lnTo>
                      <a:pt x="80" y="80"/>
                    </a:lnTo>
                    <a:lnTo>
                      <a:pt x="84" y="76"/>
                    </a:lnTo>
                    <a:lnTo>
                      <a:pt x="84" y="74"/>
                    </a:lnTo>
                    <a:lnTo>
                      <a:pt x="86" y="68"/>
                    </a:lnTo>
                    <a:lnTo>
                      <a:pt x="92" y="54"/>
                    </a:lnTo>
                    <a:lnTo>
                      <a:pt x="92" y="54"/>
                    </a:lnTo>
                    <a:lnTo>
                      <a:pt x="100" y="38"/>
                    </a:lnTo>
                    <a:lnTo>
                      <a:pt x="108" y="28"/>
                    </a:lnTo>
                    <a:lnTo>
                      <a:pt x="110" y="22"/>
                    </a:lnTo>
                    <a:lnTo>
                      <a:pt x="110" y="18"/>
                    </a:lnTo>
                    <a:lnTo>
                      <a:pt x="108" y="14"/>
                    </a:lnTo>
                    <a:lnTo>
                      <a:pt x="102" y="10"/>
                    </a:lnTo>
                    <a:lnTo>
                      <a:pt x="102" y="10"/>
                    </a:lnTo>
                    <a:lnTo>
                      <a:pt x="92" y="4"/>
                    </a:lnTo>
                    <a:lnTo>
                      <a:pt x="84" y="0"/>
                    </a:lnTo>
                    <a:lnTo>
                      <a:pt x="80" y="0"/>
                    </a:lnTo>
                    <a:lnTo>
                      <a:pt x="78" y="0"/>
                    </a:lnTo>
                    <a:lnTo>
                      <a:pt x="74" y="8"/>
                    </a:lnTo>
                    <a:lnTo>
                      <a:pt x="74" y="8"/>
                    </a:lnTo>
                    <a:lnTo>
                      <a:pt x="70" y="20"/>
                    </a:lnTo>
                    <a:lnTo>
                      <a:pt x="62" y="32"/>
                    </a:lnTo>
                    <a:lnTo>
                      <a:pt x="56" y="44"/>
                    </a:lnTo>
                    <a:lnTo>
                      <a:pt x="52" y="54"/>
                    </a:lnTo>
                    <a:lnTo>
                      <a:pt x="52" y="54"/>
                    </a:lnTo>
                    <a:lnTo>
                      <a:pt x="50" y="60"/>
                    </a:lnTo>
                    <a:lnTo>
                      <a:pt x="48" y="62"/>
                    </a:lnTo>
                    <a:lnTo>
                      <a:pt x="42" y="62"/>
                    </a:lnTo>
                    <a:lnTo>
                      <a:pt x="32" y="60"/>
                    </a:lnTo>
                    <a:lnTo>
                      <a:pt x="32" y="60"/>
                    </a:lnTo>
                    <a:lnTo>
                      <a:pt x="20" y="56"/>
                    </a:lnTo>
                    <a:lnTo>
                      <a:pt x="6" y="54"/>
                    </a:lnTo>
                    <a:lnTo>
                      <a:pt x="2" y="54"/>
                    </a:lnTo>
                    <a:lnTo>
                      <a:pt x="0" y="56"/>
                    </a:lnTo>
                    <a:lnTo>
                      <a:pt x="0" y="60"/>
                    </a:lnTo>
                    <a:lnTo>
                      <a:pt x="4" y="66"/>
                    </a:lnTo>
                    <a:lnTo>
                      <a:pt x="4" y="66"/>
                    </a:lnTo>
                    <a:close/>
                  </a:path>
                </a:pathLst>
              </a:custGeom>
              <a:solidFill>
                <a:schemeClr val="accent5"/>
              </a:solidFill>
              <a:ln w="6350" cap="rnd" cmpd="sng">
                <a:noFill/>
                <a:prstDash val="solid"/>
                <a:round/>
                <a:headEnd type="none" w="sm" len="sm"/>
                <a:tailEnd type="none" w="sm" len="sm"/>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259" name="TextBox 10258">
              <a:extLst>
                <a:ext uri="{FF2B5EF4-FFF2-40B4-BE49-F238E27FC236}">
                  <a16:creationId xmlns:a16="http://schemas.microsoft.com/office/drawing/2014/main" id="{2AC7689B-D4C2-2F41-A841-487CEBF532A8}"/>
                </a:ext>
              </a:extLst>
            </p:cNvPr>
            <p:cNvSpPr txBox="1"/>
            <p:nvPr/>
          </p:nvSpPr>
          <p:spPr>
            <a:xfrm>
              <a:off x="3621876" y="3631756"/>
              <a:ext cx="830566" cy="448355"/>
            </a:xfrm>
            <a:prstGeom prst="rect">
              <a:avLst/>
            </a:prstGeom>
            <a:noFill/>
          </p:spPr>
          <p:txBody>
            <a:bodyPr wrap="square" rtlCol="0">
              <a:spAutoFit/>
            </a:bodyPr>
            <a:lstStyle/>
            <a:p>
              <a:pPr algn="ctr"/>
              <a:r>
                <a:rPr lang="en-SE" sz="1600" b="1">
                  <a:solidFill>
                    <a:schemeClr val="accent1"/>
                  </a:solidFill>
                </a:rPr>
                <a:t>20</a:t>
              </a:r>
            </a:p>
            <a:p>
              <a:pPr algn="ctr"/>
              <a:r>
                <a:rPr lang="en-SE" sz="1100" b="1" dirty="0">
                  <a:solidFill>
                    <a:schemeClr val="bg1"/>
                  </a:solidFill>
                </a:rPr>
                <a:t>companies</a:t>
              </a:r>
              <a:endParaRPr lang="en-SE" sz="1400" b="1" dirty="0">
                <a:solidFill>
                  <a:schemeClr val="bg1"/>
                </a:solidFill>
              </a:endParaRPr>
            </a:p>
          </p:txBody>
        </p:sp>
        <p:sp>
          <p:nvSpPr>
            <p:cNvPr id="149" name="TextBox 148">
              <a:extLst>
                <a:ext uri="{FF2B5EF4-FFF2-40B4-BE49-F238E27FC236}">
                  <a16:creationId xmlns:a16="http://schemas.microsoft.com/office/drawing/2014/main" id="{0F100644-7DAB-D943-960D-A5A096E0E9C2}"/>
                </a:ext>
              </a:extLst>
            </p:cNvPr>
            <p:cNvSpPr txBox="1"/>
            <p:nvPr/>
          </p:nvSpPr>
          <p:spPr>
            <a:xfrm>
              <a:off x="3096093" y="3305677"/>
              <a:ext cx="830566" cy="538609"/>
            </a:xfrm>
            <a:prstGeom prst="rect">
              <a:avLst/>
            </a:prstGeom>
            <a:noFill/>
          </p:spPr>
          <p:txBody>
            <a:bodyPr wrap="square" rtlCol="0">
              <a:spAutoFit/>
            </a:bodyPr>
            <a:lstStyle/>
            <a:p>
              <a:pPr algn="ctr"/>
              <a:r>
                <a:rPr lang="en-SE" b="1">
                  <a:solidFill>
                    <a:schemeClr val="accent1"/>
                  </a:solidFill>
                </a:rPr>
                <a:t>4</a:t>
              </a:r>
            </a:p>
            <a:p>
              <a:pPr algn="ctr"/>
              <a:r>
                <a:rPr lang="en-SE" sz="1100" b="1"/>
                <a:t>companies</a:t>
              </a:r>
              <a:endParaRPr lang="en-SE" sz="1400" b="1"/>
            </a:p>
          </p:txBody>
        </p:sp>
        <p:sp>
          <p:nvSpPr>
            <p:cNvPr id="150" name="TextBox 149">
              <a:extLst>
                <a:ext uri="{FF2B5EF4-FFF2-40B4-BE49-F238E27FC236}">
                  <a16:creationId xmlns:a16="http://schemas.microsoft.com/office/drawing/2014/main" id="{9678B72A-0E4E-8946-A8C6-8ED1530570C6}"/>
                </a:ext>
              </a:extLst>
            </p:cNvPr>
            <p:cNvSpPr txBox="1"/>
            <p:nvPr/>
          </p:nvSpPr>
          <p:spPr>
            <a:xfrm>
              <a:off x="4484467" y="3281890"/>
              <a:ext cx="830566" cy="538609"/>
            </a:xfrm>
            <a:prstGeom prst="rect">
              <a:avLst/>
            </a:prstGeom>
            <a:noFill/>
          </p:spPr>
          <p:txBody>
            <a:bodyPr wrap="square" rtlCol="0">
              <a:spAutoFit/>
            </a:bodyPr>
            <a:lstStyle/>
            <a:p>
              <a:pPr algn="ctr"/>
              <a:r>
                <a:rPr lang="en-SE" b="1">
                  <a:solidFill>
                    <a:schemeClr val="accent1"/>
                  </a:solidFill>
                </a:rPr>
                <a:t>3</a:t>
              </a:r>
              <a:endParaRPr lang="en-SE" sz="2400" b="1">
                <a:solidFill>
                  <a:schemeClr val="accent1"/>
                </a:solidFill>
              </a:endParaRPr>
            </a:p>
            <a:p>
              <a:pPr algn="ctr"/>
              <a:r>
                <a:rPr lang="en-SE" sz="1100" b="1"/>
                <a:t>companies</a:t>
              </a:r>
              <a:endParaRPr lang="en-SE" sz="1400" b="1"/>
            </a:p>
          </p:txBody>
        </p:sp>
        <p:sp>
          <p:nvSpPr>
            <p:cNvPr id="151" name="TextBox 150">
              <a:extLst>
                <a:ext uri="{FF2B5EF4-FFF2-40B4-BE49-F238E27FC236}">
                  <a16:creationId xmlns:a16="http://schemas.microsoft.com/office/drawing/2014/main" id="{C098B728-F30A-DB43-BB49-0789BCE1969F}"/>
                </a:ext>
              </a:extLst>
            </p:cNvPr>
            <p:cNvSpPr txBox="1"/>
            <p:nvPr/>
          </p:nvSpPr>
          <p:spPr>
            <a:xfrm>
              <a:off x="2742454" y="4541943"/>
              <a:ext cx="752790" cy="475529"/>
            </a:xfrm>
            <a:prstGeom prst="rect">
              <a:avLst/>
            </a:prstGeom>
            <a:noFill/>
          </p:spPr>
          <p:txBody>
            <a:bodyPr wrap="square" rtlCol="0">
              <a:spAutoFit/>
            </a:bodyPr>
            <a:lstStyle/>
            <a:p>
              <a:pPr algn="ctr"/>
              <a:r>
                <a:rPr lang="en-SE" b="1">
                  <a:solidFill>
                    <a:schemeClr val="accent1"/>
                  </a:solidFill>
                </a:rPr>
                <a:t>8</a:t>
              </a:r>
            </a:p>
            <a:p>
              <a:pPr algn="ctr"/>
              <a:r>
                <a:rPr lang="en-SE" sz="1100" b="1"/>
                <a:t>companies</a:t>
              </a:r>
              <a:endParaRPr lang="en-SE" sz="1400" b="1"/>
            </a:p>
          </p:txBody>
        </p:sp>
      </p:grpSp>
      <p:cxnSp>
        <p:nvCxnSpPr>
          <p:cNvPr id="9" name="Vinklad  8">
            <a:extLst>
              <a:ext uri="{FF2B5EF4-FFF2-40B4-BE49-F238E27FC236}">
                <a16:creationId xmlns:a16="http://schemas.microsoft.com/office/drawing/2014/main" id="{FA1C22E8-05E1-55A3-06AB-0B15023AD942}"/>
              </a:ext>
            </a:extLst>
          </p:cNvPr>
          <p:cNvCxnSpPr>
            <a:cxnSpLocks/>
          </p:cNvCxnSpPr>
          <p:nvPr/>
        </p:nvCxnSpPr>
        <p:spPr>
          <a:xfrm rot="10800000" flipV="1">
            <a:off x="5147518" y="2788726"/>
            <a:ext cx="2001153" cy="1399355"/>
          </a:xfrm>
          <a:prstGeom prst="bentConnector2">
            <a:avLst/>
          </a:prstGeom>
          <a:ln w="28575"/>
        </p:spPr>
        <p:style>
          <a:lnRef idx="1">
            <a:schemeClr val="accent1"/>
          </a:lnRef>
          <a:fillRef idx="0">
            <a:schemeClr val="accent1"/>
          </a:fillRef>
          <a:effectRef idx="0">
            <a:schemeClr val="accent1"/>
          </a:effectRef>
          <a:fontRef idx="minor">
            <a:schemeClr val="tx1"/>
          </a:fontRef>
        </p:style>
      </p:cxnSp>
      <p:sp>
        <p:nvSpPr>
          <p:cNvPr id="65" name="Platshållare för innehåll 2">
            <a:extLst>
              <a:ext uri="{FF2B5EF4-FFF2-40B4-BE49-F238E27FC236}">
                <a16:creationId xmlns:a16="http://schemas.microsoft.com/office/drawing/2014/main" id="{DAFE5191-8869-8304-4B6E-E254F46539FD}"/>
              </a:ext>
            </a:extLst>
          </p:cNvPr>
          <p:cNvSpPr>
            <a:spLocks noGrp="1"/>
          </p:cNvSpPr>
          <p:nvPr>
            <p:ph sz="quarter" idx="10"/>
          </p:nvPr>
        </p:nvSpPr>
        <p:spPr>
          <a:xfrm>
            <a:off x="838200" y="1881189"/>
            <a:ext cx="10479087" cy="796510"/>
          </a:xfrm>
        </p:spPr>
        <p:txBody>
          <a:bodyPr>
            <a:noAutofit/>
          </a:bodyPr>
          <a:lstStyle/>
          <a:p>
            <a:pPr>
              <a:lnSpc>
                <a:spcPct val="100000"/>
              </a:lnSpc>
              <a:spcBef>
                <a:spcPts val="500"/>
              </a:spcBef>
            </a:pPr>
            <a:r>
              <a:rPr lang="en-US" sz="1200"/>
              <a:t>35 ATMP companies were identified and defined as SMEs in the Nordic region.* </a:t>
            </a:r>
          </a:p>
          <a:p>
            <a:pPr>
              <a:lnSpc>
                <a:spcPct val="100000"/>
              </a:lnSpc>
              <a:spcBef>
                <a:spcPts val="500"/>
              </a:spcBef>
            </a:pPr>
            <a:r>
              <a:rPr lang="en-US" sz="1200"/>
              <a:t>Sweden holds the most companies and of these, </a:t>
            </a:r>
            <a:r>
              <a:rPr lang="en-US" sz="1200" err="1"/>
              <a:t>sCTMP</a:t>
            </a:r>
            <a:r>
              <a:rPr lang="en-US" sz="1200"/>
              <a:t> is the most frequent ATMP focus area.</a:t>
            </a:r>
          </a:p>
        </p:txBody>
      </p:sp>
      <p:sp>
        <p:nvSpPr>
          <p:cNvPr id="3" name="textruta 2">
            <a:extLst>
              <a:ext uri="{FF2B5EF4-FFF2-40B4-BE49-F238E27FC236}">
                <a16:creationId xmlns:a16="http://schemas.microsoft.com/office/drawing/2014/main" id="{3F49C0D3-3E44-7930-8236-852710144707}"/>
              </a:ext>
            </a:extLst>
          </p:cNvPr>
          <p:cNvSpPr txBox="1"/>
          <p:nvPr/>
        </p:nvSpPr>
        <p:spPr>
          <a:xfrm>
            <a:off x="838200" y="6393898"/>
            <a:ext cx="5158470" cy="461665"/>
          </a:xfrm>
          <a:prstGeom prst="rect">
            <a:avLst/>
          </a:prstGeom>
          <a:noFill/>
        </p:spPr>
        <p:txBody>
          <a:bodyPr wrap="square" rtlCol="0">
            <a:spAutoFit/>
          </a:bodyPr>
          <a:lstStyle/>
          <a:p>
            <a:r>
              <a:rPr lang="en-US" sz="800" dirty="0"/>
              <a:t>*SME companies are defined by being founded and having their main operating activity in the Nordics. Their maturity level varies, but all have development programs in preclinical or clinical stage and have no marketed products.</a:t>
            </a:r>
          </a:p>
          <a:p>
            <a:r>
              <a:rPr lang="en-US" sz="800" dirty="0"/>
              <a:t>** </a:t>
            </a:r>
            <a:r>
              <a:rPr lang="en-US" sz="800" dirty="0" err="1"/>
              <a:t>Lipigon</a:t>
            </a:r>
            <a:r>
              <a:rPr lang="en-US" sz="800" dirty="0"/>
              <a:t> has their only ATMP asset out-licensed to </a:t>
            </a:r>
            <a:r>
              <a:rPr lang="en-US" sz="800" dirty="0" err="1"/>
              <a:t>Combigene</a:t>
            </a:r>
            <a:r>
              <a:rPr lang="en-US" sz="800" dirty="0"/>
              <a:t>. </a:t>
            </a:r>
          </a:p>
        </p:txBody>
      </p:sp>
      <p:pic>
        <p:nvPicPr>
          <p:cNvPr id="33794" name="Picture 2" descr="Lipigon">
            <a:extLst>
              <a:ext uri="{FF2B5EF4-FFF2-40B4-BE49-F238E27FC236}">
                <a16:creationId xmlns:a16="http://schemas.microsoft.com/office/drawing/2014/main" id="{36CF6BEB-1E26-2FFC-2E90-C20EC0DFD968}"/>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5826840" y="5228082"/>
            <a:ext cx="687600" cy="13179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CC5DA55-C5BC-075B-6CC3-32B246768A45}"/>
              </a:ext>
            </a:extLst>
          </p:cNvPr>
          <p:cNvSpPr txBox="1"/>
          <p:nvPr/>
        </p:nvSpPr>
        <p:spPr>
          <a:xfrm>
            <a:off x="6438800" y="5099885"/>
            <a:ext cx="495683" cy="276999"/>
          </a:xfrm>
          <a:prstGeom prst="rect">
            <a:avLst/>
          </a:prstGeom>
          <a:noFill/>
        </p:spPr>
        <p:txBody>
          <a:bodyPr wrap="square" rtlCol="0">
            <a:spAutoFit/>
          </a:bodyPr>
          <a:lstStyle/>
          <a:p>
            <a:r>
              <a:rPr lang="sv-SE" sz="1200" dirty="0"/>
              <a:t>**</a:t>
            </a:r>
            <a:endParaRPr lang="en-SE" dirty="0"/>
          </a:p>
        </p:txBody>
      </p:sp>
      <p:graphicFrame>
        <p:nvGraphicFramePr>
          <p:cNvPr id="66" name="Chart 65">
            <a:extLst>
              <a:ext uri="{FF2B5EF4-FFF2-40B4-BE49-F238E27FC236}">
                <a16:creationId xmlns:a16="http://schemas.microsoft.com/office/drawing/2014/main" id="{20F210C3-FEEE-FF44-89D3-3A713C3EF317}"/>
              </a:ext>
            </a:extLst>
          </p:cNvPr>
          <p:cNvGraphicFramePr>
            <a:graphicFrameLocks/>
          </p:cNvGraphicFramePr>
          <p:nvPr>
            <p:extLst>
              <p:ext uri="{D42A27DB-BD31-4B8C-83A1-F6EECF244321}">
                <p14:modId xmlns:p14="http://schemas.microsoft.com/office/powerpoint/2010/main" val="2634674665"/>
              </p:ext>
            </p:extLst>
          </p:nvPr>
        </p:nvGraphicFramePr>
        <p:xfrm>
          <a:off x="8474029" y="4201730"/>
          <a:ext cx="2727399" cy="1995027"/>
        </p:xfrm>
        <a:graphic>
          <a:graphicData uri="http://schemas.openxmlformats.org/drawingml/2006/chart">
            <c:chart xmlns:c="http://schemas.openxmlformats.org/drawingml/2006/chart" xmlns:r="http://schemas.openxmlformats.org/officeDocument/2006/relationships" r:id="rId38"/>
          </a:graphicData>
        </a:graphic>
      </p:graphicFrame>
    </p:spTree>
    <p:extLst>
      <p:ext uri="{BB962C8B-B14F-4D97-AF65-F5344CB8AC3E}">
        <p14:creationId xmlns:p14="http://schemas.microsoft.com/office/powerpoint/2010/main" val="84941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TMP2">
  <a:themeElements>
    <a:clrScheme name="ATMP Sweden Colors">
      <a:dk1>
        <a:srgbClr val="333333"/>
      </a:dk1>
      <a:lt1>
        <a:srgbClr val="FFFFFF"/>
      </a:lt1>
      <a:dk2>
        <a:srgbClr val="44546A"/>
      </a:dk2>
      <a:lt2>
        <a:srgbClr val="FAFAFA"/>
      </a:lt2>
      <a:accent1>
        <a:srgbClr val="FFC556"/>
      </a:accent1>
      <a:accent2>
        <a:srgbClr val="ECF7FB"/>
      </a:accent2>
      <a:accent3>
        <a:srgbClr val="A5A5A5"/>
      </a:accent3>
      <a:accent4>
        <a:srgbClr val="FFC556"/>
      </a:accent4>
      <a:accent5>
        <a:srgbClr val="2C708F"/>
      </a:accent5>
      <a:accent6>
        <a:srgbClr val="FAFAFA"/>
      </a:accent6>
      <a:hlink>
        <a:srgbClr val="333333"/>
      </a:hlink>
      <a:folHlink>
        <a:srgbClr val="2C708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TMP2" id="{5A5047E6-76A9-1D46-B948-619D8B39A611}" vid="{7042A193-AEAA-8146-A606-CE5CFAA285C1}"/>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FAEB2762C666934A993AED8476825E40" ma:contentTypeVersion="7" ma:contentTypeDescription="Skapa ett nytt dokument." ma:contentTypeScope="" ma:versionID="a294010bba1d169136004253187010e3">
  <xsd:schema xmlns:xsd="http://www.w3.org/2001/XMLSchema" xmlns:xs="http://www.w3.org/2001/XMLSchema" xmlns:p="http://schemas.microsoft.com/office/2006/metadata/properties" xmlns:ns2="066bb394-4e8e-4a0a-908d-405ad5ab7b11" targetNamespace="http://schemas.microsoft.com/office/2006/metadata/properties" ma:root="true" ma:fieldsID="55cfe3f3041187b6ba92a81d0d258d3e" ns2:_="">
    <xsd:import namespace="066bb394-4e8e-4a0a-908d-405ad5ab7b1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6bb394-4e8e-4a0a-908d-405ad5ab7b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BFEA8D3-8A35-4B94-8686-D2CDE5E8DBF7}">
  <ds:schemaRefs>
    <ds:schemaRef ds:uri="http://schemas.microsoft.com/sharepoint/v3/contenttype/forms"/>
  </ds:schemaRefs>
</ds:datastoreItem>
</file>

<file path=customXml/itemProps2.xml><?xml version="1.0" encoding="utf-8"?>
<ds:datastoreItem xmlns:ds="http://schemas.openxmlformats.org/officeDocument/2006/customXml" ds:itemID="{6CE33981-67DA-4D2E-A0DF-974D3A365AD4}"/>
</file>

<file path=customXml/itemProps3.xml><?xml version="1.0" encoding="utf-8"?>
<ds:datastoreItem xmlns:ds="http://schemas.openxmlformats.org/officeDocument/2006/customXml" ds:itemID="{1C33C87F-850D-40CB-AF62-D0CDD624DE9E}">
  <ds:schemaRefs>
    <ds:schemaRef ds:uri="066bb394-4e8e-4a0a-908d-405ad5ab7b1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TMP2</Template>
  <TotalTime>0</TotalTime>
  <Words>885</Words>
  <Application>Microsoft Macintosh PowerPoint</Application>
  <PresentationFormat>Bredbild</PresentationFormat>
  <Paragraphs>144</Paragraphs>
  <Slides>10</Slides>
  <Notes>6</Notes>
  <HiddenSlides>0</HiddenSlides>
  <MMClips>0</MMClips>
  <ScaleCrop>false</ScaleCrop>
  <HeadingPairs>
    <vt:vector size="8" baseType="variant">
      <vt:variant>
        <vt:lpstr>Använt teckensnitt</vt:lpstr>
      </vt:variant>
      <vt:variant>
        <vt:i4>7</vt:i4>
      </vt:variant>
      <vt:variant>
        <vt:lpstr>Tema</vt:lpstr>
      </vt:variant>
      <vt:variant>
        <vt:i4>1</vt:i4>
      </vt:variant>
      <vt:variant>
        <vt:lpstr>Serverprogram för OLE-inbäddning</vt:lpstr>
      </vt:variant>
      <vt:variant>
        <vt:i4>1</vt:i4>
      </vt:variant>
      <vt:variant>
        <vt:lpstr>Bildrubriker</vt:lpstr>
      </vt:variant>
      <vt:variant>
        <vt:i4>10</vt:i4>
      </vt:variant>
    </vt:vector>
  </HeadingPairs>
  <TitlesOfParts>
    <vt:vector size="19" baseType="lpstr">
      <vt:lpstr>Arial</vt:lpstr>
      <vt:lpstr>Calibri</vt:lpstr>
      <vt:lpstr>Gotham Bold Regular</vt:lpstr>
      <vt:lpstr>Helvetica</vt:lpstr>
      <vt:lpstr>Roboto</vt:lpstr>
      <vt:lpstr>Roboto Medium</vt:lpstr>
      <vt:lpstr>Systemtypsnitt normalt</vt:lpstr>
      <vt:lpstr>ATMP2</vt:lpstr>
      <vt:lpstr>think-cell Slide</vt:lpstr>
      <vt:lpstr>Introduction to ATMPs</vt:lpstr>
      <vt:lpstr>Generations of pharmaceuticals </vt:lpstr>
      <vt:lpstr>PowerPoint-presentation</vt:lpstr>
      <vt:lpstr>PowerPoint-presentation</vt:lpstr>
      <vt:lpstr>Simplified definition of ATMPs based on EMA regulations</vt:lpstr>
      <vt:lpstr>Novel tech gives rise to new treatments</vt:lpstr>
      <vt:lpstr>The type of ATMP can be definied from its origin and development steps</vt:lpstr>
      <vt:lpstr>ATMPs from an EU regulatory perspective</vt:lpstr>
      <vt:lpstr>57% of the 35 identified ATMP companies are located in Sweden </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MP – securing Swedish advanced therapies</dc:title>
  <dc:creator>Heather Main(cj1x)</dc:creator>
  <cp:lastModifiedBy>Stephanie Mattsson</cp:lastModifiedBy>
  <cp:revision>1</cp:revision>
  <dcterms:created xsi:type="dcterms:W3CDTF">2021-02-05T15:18:29Z</dcterms:created>
  <dcterms:modified xsi:type="dcterms:W3CDTF">2022-05-31T07:4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EB2762C666934A993AED8476825E40</vt:lpwstr>
  </property>
</Properties>
</file>